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75"/>
  </p:notesMasterIdLst>
  <p:sldIdLst>
    <p:sldId id="294" r:id="rId3"/>
    <p:sldId id="311" r:id="rId4"/>
    <p:sldId id="2076136791" r:id="rId5"/>
    <p:sldId id="312" r:id="rId6"/>
    <p:sldId id="266" r:id="rId7"/>
    <p:sldId id="267" r:id="rId8"/>
    <p:sldId id="345" r:id="rId9"/>
    <p:sldId id="346" r:id="rId10"/>
    <p:sldId id="284" r:id="rId11"/>
    <p:sldId id="288" r:id="rId12"/>
    <p:sldId id="295" r:id="rId13"/>
    <p:sldId id="301" r:id="rId14"/>
    <p:sldId id="296" r:id="rId15"/>
    <p:sldId id="297" r:id="rId16"/>
    <p:sldId id="299" r:id="rId17"/>
    <p:sldId id="300" r:id="rId18"/>
    <p:sldId id="302" r:id="rId19"/>
    <p:sldId id="303" r:id="rId20"/>
    <p:sldId id="304" r:id="rId21"/>
    <p:sldId id="305" r:id="rId22"/>
    <p:sldId id="306" r:id="rId23"/>
    <p:sldId id="307" r:id="rId24"/>
    <p:sldId id="309" r:id="rId25"/>
    <p:sldId id="308" r:id="rId26"/>
    <p:sldId id="310" r:id="rId27"/>
    <p:sldId id="315" r:id="rId28"/>
    <p:sldId id="313" r:id="rId29"/>
    <p:sldId id="319" r:id="rId30"/>
    <p:sldId id="317" r:id="rId31"/>
    <p:sldId id="318" r:id="rId32"/>
    <p:sldId id="320" r:id="rId33"/>
    <p:sldId id="321" r:id="rId34"/>
    <p:sldId id="323" r:id="rId35"/>
    <p:sldId id="324" r:id="rId36"/>
    <p:sldId id="325" r:id="rId37"/>
    <p:sldId id="326" r:id="rId38"/>
    <p:sldId id="329" r:id="rId39"/>
    <p:sldId id="330" r:id="rId40"/>
    <p:sldId id="333" r:id="rId41"/>
    <p:sldId id="334" r:id="rId42"/>
    <p:sldId id="335" r:id="rId43"/>
    <p:sldId id="336" r:id="rId44"/>
    <p:sldId id="2076136786" r:id="rId45"/>
    <p:sldId id="2076136787" r:id="rId46"/>
    <p:sldId id="2076136788" r:id="rId47"/>
    <p:sldId id="337" r:id="rId48"/>
    <p:sldId id="338" r:id="rId49"/>
    <p:sldId id="339" r:id="rId50"/>
    <p:sldId id="286" r:id="rId51"/>
    <p:sldId id="282" r:id="rId52"/>
    <p:sldId id="272" r:id="rId53"/>
    <p:sldId id="278" r:id="rId54"/>
    <p:sldId id="292" r:id="rId55"/>
    <p:sldId id="275" r:id="rId56"/>
    <p:sldId id="341" r:id="rId57"/>
    <p:sldId id="344" r:id="rId58"/>
    <p:sldId id="2076136789" r:id="rId59"/>
    <p:sldId id="2076136790" r:id="rId60"/>
    <p:sldId id="343" r:id="rId61"/>
    <p:sldId id="340" r:id="rId62"/>
    <p:sldId id="342" r:id="rId63"/>
    <p:sldId id="280" r:id="rId64"/>
    <p:sldId id="2076136784" r:id="rId65"/>
    <p:sldId id="4390" r:id="rId66"/>
    <p:sldId id="2076136781" r:id="rId67"/>
    <p:sldId id="2076136780" r:id="rId68"/>
    <p:sldId id="259" r:id="rId69"/>
    <p:sldId id="256" r:id="rId70"/>
    <p:sldId id="261" r:id="rId71"/>
    <p:sldId id="263" r:id="rId72"/>
    <p:sldId id="265" r:id="rId73"/>
    <p:sldId id="2076136785" r:id="rId74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F9B1B06-C8A4-4A54-91BD-70E63D38DF0E}">
          <p14:sldIdLst>
            <p14:sldId id="294"/>
            <p14:sldId id="311"/>
            <p14:sldId id="2076136791"/>
            <p14:sldId id="312"/>
            <p14:sldId id="266"/>
            <p14:sldId id="267"/>
            <p14:sldId id="345"/>
            <p14:sldId id="346"/>
            <p14:sldId id="284"/>
            <p14:sldId id="288"/>
            <p14:sldId id="295"/>
            <p14:sldId id="301"/>
            <p14:sldId id="296"/>
            <p14:sldId id="297"/>
            <p14:sldId id="299"/>
            <p14:sldId id="300"/>
            <p14:sldId id="302"/>
            <p14:sldId id="303"/>
            <p14:sldId id="304"/>
            <p14:sldId id="305"/>
            <p14:sldId id="306"/>
            <p14:sldId id="307"/>
            <p14:sldId id="309"/>
            <p14:sldId id="308"/>
            <p14:sldId id="310"/>
          </p14:sldIdLst>
        </p14:section>
        <p14:section name="Internals" id="{127EE0A2-F29B-4404-9C00-1256318ECA05}">
          <p14:sldIdLst>
            <p14:sldId id="315"/>
            <p14:sldId id="313"/>
            <p14:sldId id="319"/>
            <p14:sldId id="317"/>
            <p14:sldId id="318"/>
            <p14:sldId id="320"/>
            <p14:sldId id="321"/>
            <p14:sldId id="323"/>
            <p14:sldId id="324"/>
            <p14:sldId id="325"/>
            <p14:sldId id="326"/>
            <p14:sldId id="329"/>
            <p14:sldId id="330"/>
            <p14:sldId id="333"/>
            <p14:sldId id="334"/>
            <p14:sldId id="335"/>
            <p14:sldId id="336"/>
            <p14:sldId id="2076136786"/>
            <p14:sldId id="2076136787"/>
            <p14:sldId id="2076136788"/>
            <p14:sldId id="337"/>
            <p14:sldId id="338"/>
            <p14:sldId id="339"/>
            <p14:sldId id="286"/>
            <p14:sldId id="282"/>
            <p14:sldId id="272"/>
            <p14:sldId id="278"/>
            <p14:sldId id="292"/>
            <p14:sldId id="275"/>
            <p14:sldId id="341"/>
            <p14:sldId id="344"/>
            <p14:sldId id="2076136789"/>
            <p14:sldId id="2076136790"/>
            <p14:sldId id="343"/>
            <p14:sldId id="340"/>
            <p14:sldId id="342"/>
            <p14:sldId id="280"/>
            <p14:sldId id="2076136784"/>
            <p14:sldId id="4390"/>
            <p14:sldId id="2076136781"/>
            <p14:sldId id="2076136780"/>
            <p14:sldId id="259"/>
            <p14:sldId id="256"/>
            <p14:sldId id="261"/>
            <p14:sldId id="263"/>
            <p14:sldId id="265"/>
            <p14:sldId id="207613678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443" autoAdjust="0"/>
  </p:normalViewPr>
  <p:slideViewPr>
    <p:cSldViewPr snapToGrid="0">
      <p:cViewPr varScale="1">
        <p:scale>
          <a:sx n="151" d="100"/>
          <a:sy n="151" d="100"/>
        </p:scale>
        <p:origin x="120" y="3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63" Type="http://schemas.openxmlformats.org/officeDocument/2006/relationships/slide" Target="slides/slide61.xml"/><Relationship Id="rId68" Type="http://schemas.openxmlformats.org/officeDocument/2006/relationships/slide" Target="slides/slide66.xml"/><Relationship Id="rId16" Type="http://schemas.openxmlformats.org/officeDocument/2006/relationships/slide" Target="slides/slide1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66" Type="http://schemas.openxmlformats.org/officeDocument/2006/relationships/slide" Target="slides/slide64.xml"/><Relationship Id="rId74" Type="http://schemas.openxmlformats.org/officeDocument/2006/relationships/slide" Target="slides/slide72.xml"/><Relationship Id="rId79" Type="http://schemas.openxmlformats.org/officeDocument/2006/relationships/tableStyles" Target="tableStyles.xml"/><Relationship Id="rId5" Type="http://schemas.openxmlformats.org/officeDocument/2006/relationships/slide" Target="slides/slide3.xml"/><Relationship Id="rId61" Type="http://schemas.openxmlformats.org/officeDocument/2006/relationships/slide" Target="slides/slide59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slide" Target="slides/slide62.xml"/><Relationship Id="rId69" Type="http://schemas.openxmlformats.org/officeDocument/2006/relationships/slide" Target="slides/slide67.xml"/><Relationship Id="rId77" Type="http://schemas.openxmlformats.org/officeDocument/2006/relationships/viewProps" Target="viewProp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slide" Target="slides/slide70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slide" Target="slides/slide65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Relationship Id="rId70" Type="http://schemas.openxmlformats.org/officeDocument/2006/relationships/slide" Target="slides/slide68.xml"/><Relationship Id="rId75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73" Type="http://schemas.openxmlformats.org/officeDocument/2006/relationships/slide" Target="slides/slide71.xml"/><Relationship Id="rId78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34" Type="http://schemas.openxmlformats.org/officeDocument/2006/relationships/slide" Target="slides/slide32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6" Type="http://schemas.openxmlformats.org/officeDocument/2006/relationships/presProps" Target="presProps.xml"/><Relationship Id="rId7" Type="http://schemas.openxmlformats.org/officeDocument/2006/relationships/slide" Target="slides/slide5.xml"/><Relationship Id="rId71" Type="http://schemas.openxmlformats.org/officeDocument/2006/relationships/slide" Target="slides/slide69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E9E61A-DF8B-4D6A-BE3F-5B4A911CF608}" type="datetimeFigureOut">
              <a:rPr lang="en-US" smtClean="0"/>
              <a:t>3/2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6D88F1-7590-452F-9CA9-9B27AA7E02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3987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71162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H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z</a:t>
            </a:r>
            <a:r>
              <a:rPr lang="en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group deployment create --name 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en-CH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xampleDeployment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r>
              <a:rPr lang="en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--resource-group 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en-CH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YourResourceGroup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r>
              <a:rPr lang="en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--template-file </a:t>
            </a:r>
            <a:r>
              <a:rPr lang="en-CH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zuredeployBasic.json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43928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92944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57764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53402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39478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 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pyMeasurementFromTs_DayToTs_Da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FromTs_Day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20211211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MoveDaysBack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4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OffsetMillisecond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62659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heck if attribute order in non clustered index makes sense</a:t>
            </a:r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28690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F8DF66-FEE6-41BF-84ED-DA6601F63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E250DB6-DFC1-413B-A47D-84E9D98E1C0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0E2BB4-BF4B-491A-92BF-A8BF844FDC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3/2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3F69F1-01C5-4B50-8205-70A55B9598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51363D-BB99-4A57-B74A-43F450E047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97067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1E8C8F-8B74-48E5-8D2F-A191C48061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B8EED0D-63F8-42CD-9197-9CA2952D2A2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E8D16E-6943-47D4-90E2-0BDF1C71E8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3/2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ACA53D-ED28-40A1-856C-7AD70E8F84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7BA2134-C499-4D9C-AE08-FA79BF4D37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24213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5044DEC-8290-4469-B9AE-280F9302F25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929C71C-FEDA-4E68-A342-1DBCE5143C6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8D24CA-1AD6-4408-8F3A-5CCE4061F4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3/2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4CE1DD-9631-4612-A136-BBA02E4977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869469-5AC4-4452-8117-640C21AD4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6754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D3453B0B-33DE-4ED0-A610-D76D0E610F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4572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4572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9F328AE-26F0-42B9-988D-535B1145C9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0758" y="800100"/>
            <a:ext cx="5024485" cy="525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28348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2270E26-89BA-4369-9EF4-1B9EBAA3D00B}"/>
              </a:ext>
            </a:extLst>
          </p:cNvPr>
          <p:cNvSpPr/>
          <p:nvPr userDrawn="1"/>
        </p:nvSpPr>
        <p:spPr bwMode="auto">
          <a:xfrm>
            <a:off x="5334000" y="0"/>
            <a:ext cx="6858000" cy="6858000"/>
          </a:xfrm>
          <a:prstGeom prst="rect">
            <a:avLst/>
          </a:prstGeom>
          <a:solidFill>
            <a:srgbClr val="D2D2D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pic>
        <p:nvPicPr>
          <p:cNvPr id="9" name="MS logo gray - EMF" descr="Microsoft logo, gray text version">
            <a:extLst>
              <a:ext uri="{FF2B5EF4-FFF2-40B4-BE49-F238E27FC236}">
                <a16:creationId xmlns:a16="http://schemas.microsoft.com/office/drawing/2014/main" id="{D03FE64B-525F-4B73-8C45-B4BC3BAD6A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5964678-FE6C-4226-A11B-8D452DA7808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0758" y="800100"/>
            <a:ext cx="5024485" cy="525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32010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D026004-6E63-4034-A1B0-34BE8CEF3D76}"/>
              </a:ext>
            </a:extLst>
          </p:cNvPr>
          <p:cNvSpPr/>
          <p:nvPr userDrawn="1"/>
        </p:nvSpPr>
        <p:spPr bwMode="auto">
          <a:xfrm>
            <a:off x="5334000" y="0"/>
            <a:ext cx="6858000" cy="6858000"/>
          </a:xfrm>
          <a:prstGeom prst="rect">
            <a:avLst/>
          </a:prstGeom>
          <a:solidFill>
            <a:srgbClr val="00BCF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rgbClr val="00240D"/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FC1A9B4-AD16-4E53-919C-38204BAF9E3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0758" y="800100"/>
            <a:ext cx="5024485" cy="525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9352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D3453B0B-33DE-4ED0-A610-D76D0E610F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25749891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2541419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0314095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0103943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1832177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D04EC8-52F9-4857-9FE0-BBC1BEB24A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427D51-EB45-4CB5-87F9-4FA1C25225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C35A9C-A76A-4222-ABE1-175950BD60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3/2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B681EE-2D15-4CA9-94FE-5F69BA7964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94E2BE-EC4C-45F4-A998-5C472B090C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19601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7822648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80406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529520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25650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1"/>
            <a:ext cx="4162425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06969038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5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43786237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smaller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422154548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631573B-58F8-43B4-8E3E-6F895442CB9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4025" y="3898483"/>
            <a:ext cx="2265363" cy="2370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67867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3855024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381C0FB-0396-463F-9527-BACCE96868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4025" y="3898483"/>
            <a:ext cx="2265363" cy="2370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9980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40972449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7E382B-A8DF-4E89-9567-CD70CE8824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A70A16C-B4A6-42B2-A589-0F6EFD51AB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56D90AB-2122-46D6-B0B0-81E7384656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3/2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0FC276-58AB-4D60-ABBA-D195FC7105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376F10-9085-4A31-BADA-D94414DF33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98695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69F059F-BD0F-4211-86F6-E960C3EC18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4025" y="3898483"/>
            <a:ext cx="2265363" cy="2370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43248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558999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89836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309930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365234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4" name="MS logo gray - EMF" descr="Microsoft logo, gray text version">
            <a:extLst>
              <a:ext uri="{FF2B5EF4-FFF2-40B4-BE49-F238E27FC236}">
                <a16:creationId xmlns:a16="http://schemas.microsoft.com/office/drawing/2014/main" id="{59104CAE-91B8-4A7E-9F8E-214C5F8809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25033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10063428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 Color 1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49" y="228601"/>
            <a:ext cx="11151917" cy="747897"/>
          </a:xfrm>
        </p:spPr>
        <p:txBody>
          <a:bodyPr/>
          <a:lstStyle>
            <a:lvl1pPr>
              <a:defRPr>
                <a:solidFill>
                  <a:srgbClr val="00AEE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49" y="1447800"/>
            <a:ext cx="11151917" cy="94641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900"/>
              </a:spcAft>
              <a:buNone/>
              <a:defRPr sz="3999" spc="-100" baseline="0">
                <a:solidFill>
                  <a:srgbClr val="00AEEF"/>
                </a:solidFill>
                <a:latin typeface="Segoe UI Light" pitchFamily="34" charset="0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2000" spc="-51" baseline="0">
                <a:solidFill>
                  <a:srgbClr val="00AEEF"/>
                </a:solidFill>
              </a:defRPr>
            </a:lvl2pPr>
            <a:lvl3pPr marL="0" indent="0">
              <a:spcBef>
                <a:spcPts val="0"/>
              </a:spcBef>
              <a:spcAft>
                <a:spcPts val="400"/>
              </a:spcAft>
              <a:buNone/>
              <a:defRPr sz="2000"/>
            </a:lvl3pPr>
            <a:lvl4pPr marL="0" indent="0">
              <a:spcBef>
                <a:spcPts val="0"/>
              </a:spcBef>
              <a:spcAft>
                <a:spcPts val="40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400"/>
              </a:spcAft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930958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9" spc="-98" baseline="0">
                <a:solidFill>
                  <a:srgbClr val="FF0000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113389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5B908780-40AD-40B0-9FFC-9C48183CE845}"/>
              </a:ext>
            </a:extLst>
          </p:cNvPr>
          <p:cNvSpPr/>
          <p:nvPr userDrawn="1"/>
        </p:nvSpPr>
        <p:spPr>
          <a:xfrm>
            <a:off x="274638" y="351692"/>
            <a:ext cx="11650662" cy="580294"/>
          </a:xfrm>
          <a:prstGeom prst="roundRect">
            <a:avLst/>
          </a:prstGeom>
          <a:solidFill>
            <a:srgbClr val="E81123"/>
          </a:solidFill>
          <a:ln>
            <a:solidFill>
              <a:srgbClr val="E811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D399A8-090B-4988-A572-47A4FC807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09807"/>
            <a:ext cx="10515600" cy="566860"/>
          </a:xfrm>
        </p:spPr>
        <p:txBody>
          <a:bodyPr>
            <a:noAutofit/>
          </a:bodyPr>
          <a:lstStyle>
            <a:lvl1pPr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8898AD91-2B54-439E-9887-50D5630978F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838200" y="54830"/>
            <a:ext cx="6875462" cy="254977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Edit Presenter</a:t>
            </a:r>
          </a:p>
        </p:txBody>
      </p:sp>
    </p:spTree>
    <p:extLst>
      <p:ext uri="{BB962C8B-B14F-4D97-AF65-F5344CB8AC3E}">
        <p14:creationId xmlns:p14="http://schemas.microsoft.com/office/powerpoint/2010/main" val="26961776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C5BB8E-4665-46F8-99D6-DB27569687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945D25-AF17-4DE3-B405-FA5DA3D918A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D415E23-B307-4F4F-9E70-4F429291685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7485A28-6F26-4378-B5D4-9C58DDB83F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3/2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195582-FBA2-460C-90F0-9A9943F768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5A59D26-214F-4A3A-8374-D2DEC538D2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31596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7277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34525279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21763D-41AD-4FA7-ACC1-F8BC6CEA1D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B4D2EB-B46D-4897-A180-5A6F6B6AD8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F304EF-ED1D-4DA7-AD1D-544AE8B2FE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60A046-2F44-4669-A19D-5AC80D6C5DD4}" type="datetimeFigureOut">
              <a:rPr lang="en-US" smtClean="0"/>
              <a:t>3/2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FA87DF-3F3D-4D94-953D-AB68648389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236960-5D44-4B52-B5EE-EDA54A64D6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FC0FF-0426-48FA-B04F-BB0C300F23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27733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7"/>
            <a:ext cx="5378548" cy="1784143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8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7"/>
            <a:ext cx="5378548" cy="1784143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8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34182419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865070" y="0"/>
            <a:ext cx="5326931" cy="484094"/>
          </a:xfrm>
        </p:spPr>
        <p:txBody>
          <a:bodyPr vert="horz" wrap="square" lIns="127337" tIns="79586" rIns="127337" bIns="79586" rtlCol="0" anchor="t">
            <a:noAutofit/>
          </a:bodyPr>
          <a:lstStyle>
            <a:lvl1pPr marL="0" indent="0" algn="r" defTabSz="648691">
              <a:buFontTx/>
              <a:buNone/>
              <a:defRPr lang="en-US" sz="1059" b="0" cap="none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n-lt"/>
                <a:cs typeface="Segoe UI" pitchFamily="34" charset="0"/>
              </a:defRPr>
            </a:lvl1pPr>
          </a:lstStyle>
          <a:p>
            <a:pPr algn="r" defTabSz="735144"/>
            <a:r>
              <a:rPr lang="en-GB" sz="981">
                <a:latin typeface="Segoe UI Light"/>
              </a:rPr>
              <a:t>Presenter: Insert Name / OneNote page:  / Slide 1 of X</a:t>
            </a:r>
            <a:endParaRPr lang="en-US" sz="981">
              <a:latin typeface="Segoe UI Ligh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217716" y="201706"/>
            <a:ext cx="7402286" cy="484094"/>
          </a:xfrm>
        </p:spPr>
        <p:txBody>
          <a:bodyPr lIns="45720" rIns="0" anchor="b"/>
          <a:lstStyle>
            <a:lvl1pPr>
              <a:defRPr sz="2118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40283300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8" y="1558"/>
                        <a:ext cx="1556" cy="155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737029" y="6356803"/>
            <a:ext cx="2844904" cy="364224"/>
          </a:xfrm>
          <a:prstGeom prst="rect">
            <a:avLst/>
          </a:prstGeom>
        </p:spPr>
        <p:txBody>
          <a:bodyPr vert="horz" lIns="91432" tIns="45715" rIns="91432" bIns="45715" rtlCol="0" anchor="ctr"/>
          <a:lstStyle>
            <a:lvl1pPr algn="r">
              <a:defRPr sz="73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202"/>
            <a:fld id="{FFB82908-4842-4340-9D73-01C813DDC308}" type="slidenum">
              <a:rPr lang="en-US" smtClean="0">
                <a:solidFill>
                  <a:srgbClr val="505050">
                    <a:tint val="75000"/>
                  </a:srgbClr>
                </a:solidFill>
              </a:rPr>
              <a:pPr defTabSz="685202"/>
              <a:t>‹#›</a:t>
            </a:fld>
            <a:endParaRPr lang="en-US">
              <a:solidFill>
                <a:srgbClr val="50505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9219457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&amp; half-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1" y="1560644"/>
            <a:ext cx="4898137" cy="1239122"/>
          </a:xfrm>
        </p:spPr>
        <p:txBody>
          <a:bodyPr wrap="square">
            <a:spAutoFit/>
          </a:bodyPr>
          <a:lstStyle>
            <a:lvl1pPr marL="0" indent="0">
              <a:lnSpc>
                <a:spcPct val="110000"/>
              </a:lnSpc>
              <a:spcBef>
                <a:spcPts val="1200"/>
              </a:spcBef>
              <a:buNone/>
              <a:defRPr sz="1800">
                <a:latin typeface="+mn-lt"/>
              </a:defRPr>
            </a:lvl1pPr>
            <a:lvl2pPr marL="228556" indent="0">
              <a:buNone/>
              <a:defRPr sz="1600"/>
            </a:lvl2pPr>
            <a:lvl3pPr marL="457112" indent="0">
              <a:buNone/>
              <a:defRPr sz="1200"/>
            </a:lvl3pPr>
            <a:lvl4pPr marL="685668" indent="0">
              <a:buNone/>
              <a:defRPr sz="1100"/>
            </a:lvl4pPr>
            <a:lvl5pPr marL="914225" indent="0">
              <a:buNone/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4B7896-F978-4D6E-861E-D10AD51486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6644419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63D3045-96A6-47EA-8E6C-C98A6581098A}"/>
              </a:ext>
            </a:extLst>
          </p:cNvPr>
          <p:cNvSpPr/>
          <p:nvPr userDrawn="1"/>
        </p:nvSpPr>
        <p:spPr bwMode="auto">
          <a:xfrm>
            <a:off x="0" y="0"/>
            <a:ext cx="5139502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293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500" y="697656"/>
            <a:ext cx="3654814" cy="1107996"/>
          </a:xfrm>
        </p:spPr>
        <p:txBody>
          <a:bodyPr wrap="square" anchor="ctr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085797" y="617634"/>
            <a:ext cx="4616560" cy="1268039"/>
          </a:xfrm>
        </p:spPr>
        <p:txBody>
          <a:bodyPr anchor="ctr"/>
          <a:lstStyle>
            <a:lvl1pPr marL="399973" indent="-399973">
              <a:spcBef>
                <a:spcPts val="1800"/>
              </a:spcBef>
              <a:defRPr sz="2000">
                <a:latin typeface="+mn-lt"/>
              </a:defRPr>
            </a:lvl1pPr>
            <a:lvl2pPr>
              <a:defRPr sz="16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9187990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63D3045-96A6-47EA-8E6C-C98A6581098A}"/>
              </a:ext>
            </a:extLst>
          </p:cNvPr>
          <p:cNvSpPr/>
          <p:nvPr userDrawn="1"/>
        </p:nvSpPr>
        <p:spPr bwMode="auto">
          <a:xfrm>
            <a:off x="0" y="0"/>
            <a:ext cx="609600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293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2875002"/>
            <a:ext cx="5146331" cy="1107996"/>
          </a:xfrm>
        </p:spPr>
        <p:txBody>
          <a:bodyPr anchor="ctr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879772" y="2794981"/>
            <a:ext cx="4616560" cy="1268039"/>
          </a:xfrm>
        </p:spPr>
        <p:txBody>
          <a:bodyPr anchor="ctr"/>
          <a:lstStyle>
            <a:lvl1pPr marL="399973" indent="-399973">
              <a:spcBef>
                <a:spcPts val="1800"/>
              </a:spcBef>
              <a:defRPr sz="2000">
                <a:latin typeface="+mn-lt"/>
              </a:defRPr>
            </a:lvl1pPr>
            <a:lvl2pPr>
              <a:defRPr sz="16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4672921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y st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7D72CE8-10DB-4671-B91E-BDEA20A8C590}"/>
              </a:ext>
            </a:extLst>
          </p:cNvPr>
          <p:cNvSpPr/>
          <p:nvPr userDrawn="1"/>
        </p:nvSpPr>
        <p:spPr bwMode="auto">
          <a:xfrm>
            <a:off x="1" y="1340503"/>
            <a:ext cx="12191999" cy="55174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51E385E-C968-46B1-B908-12BCE971118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41" y="1633677"/>
            <a:ext cx="5566293" cy="472358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lang="en-US" sz="2000" kern="1200" spc="0" baseline="0" dirty="0">
                <a:solidFill>
                  <a:schemeClr val="tx2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rgbClr val="0078D7"/>
              </a:buClr>
              <a:buSzPct val="90000"/>
              <a:buFont typeface="Arial" pitchFamily="34" charset="0"/>
              <a:buNone/>
              <a:tabLst/>
              <a:defRPr lang="en-US" sz="16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2pPr>
            <a:lvl3pPr marL="230188" indent="0"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784338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4pPr>
            <a:lvl5pPr marL="1008434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6227DD-8E9D-4541-8CA8-529C70069A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37214454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left 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5130" y="484782"/>
            <a:ext cx="5663197" cy="1644227"/>
          </a:xfrm>
        </p:spPr>
        <p:txBody>
          <a:bodyPr anchor="t"/>
          <a:lstStyle>
            <a:lvl1pPr>
              <a:defRPr lang="en-US" sz="3600" b="1" kern="1200" cap="none" spc="-100" baseline="0" dirty="0">
                <a:ln w="3175">
                  <a:noFill/>
                </a:ln>
                <a:solidFill>
                  <a:schemeClr val="tx2"/>
                </a:solidFill>
                <a:effectLst/>
                <a:latin typeface="Segoe UI" panose="020B0502040204020203" pitchFamily="34" charset="0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6793347" y="3600754"/>
            <a:ext cx="4671440" cy="2443701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1800"/>
              </a:spcAft>
              <a:buClr>
                <a:srgbClr val="92D050"/>
              </a:buClr>
              <a:buSzPct val="100000"/>
              <a:defRPr sz="2800"/>
            </a:lvl1pPr>
            <a:lvl2pPr>
              <a:spcBef>
                <a:spcPts val="0"/>
              </a:spcBef>
              <a:spcAft>
                <a:spcPts val="1800"/>
              </a:spcAft>
              <a:buClr>
                <a:srgbClr val="92D050"/>
              </a:buClr>
              <a:buSzPct val="100000"/>
              <a:defRPr sz="2000"/>
            </a:lvl2pPr>
            <a:lvl3pPr>
              <a:spcBef>
                <a:spcPts val="0"/>
              </a:spcBef>
              <a:spcAft>
                <a:spcPts val="1800"/>
              </a:spcAft>
              <a:buClr>
                <a:srgbClr val="92D050"/>
              </a:buClr>
              <a:buSzPct val="100000"/>
              <a:defRPr sz="1800"/>
            </a:lvl3pPr>
            <a:lvl4pPr>
              <a:spcBef>
                <a:spcPts val="0"/>
              </a:spcBef>
              <a:spcAft>
                <a:spcPts val="1800"/>
              </a:spcAft>
              <a:buClr>
                <a:srgbClr val="92D050"/>
              </a:buClr>
              <a:buSzPct val="100000"/>
              <a:defRPr sz="1600"/>
            </a:lvl4pPr>
            <a:lvl5pPr>
              <a:spcBef>
                <a:spcPts val="0"/>
              </a:spcBef>
              <a:spcAft>
                <a:spcPts val="1800"/>
              </a:spcAft>
              <a:buClr>
                <a:srgbClr val="92D050"/>
              </a:buClr>
              <a:buSzPct val="100000"/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72937727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484EE9-5A6D-4C56-81AB-9266E0B81C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233145-93E5-451B-ADF3-E625A04BAE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02C371A-3964-4898-8A5D-CE125CB4C8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35C52DF-1593-4D62-92E1-34711634FDF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0498456-EDEF-4E80-B8D4-541DEB0D5E8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D1B2436-C7F0-41B4-9B9A-AE87199C2E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3/21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24160D3-1722-4FB5-8B6F-B3CBABD9F0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F50BE4F-E384-406F-AAEF-549A79839C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535107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379545"/>
          </a:xfrm>
          <a:noFill/>
        </p:spPr>
        <p:txBody>
          <a:bodyPr tIns="91440" bIns="91440" anchor="t" anchorCtr="0"/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8627" b="0" kern="1200" cap="none" spc="-98" baseline="0" dirty="0">
                <a:ln w="3175">
                  <a:noFill/>
                </a:ln>
                <a:gradFill>
                  <a:gsLst>
                    <a:gs pos="91241">
                      <a:schemeClr val="tx1"/>
                    </a:gs>
                    <a:gs pos="57000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063560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8BF327-36C7-4369-8E52-C25F39ACEE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800CF7C-1D80-4D51-8371-B69F4B4793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3/21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0DF2CF-CC6A-4B81-B724-1B3E283BE0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B650626-E98D-43D2-802E-800E67D590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61628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FA66D0-DE82-4ADD-8791-D8639426BB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3/21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E1DF3EF-9011-4A97-9930-9181188C12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99968B-80E0-4110-8809-008050E230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46345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C79747-BE05-486A-A192-D64B0AAD80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B84AA9-1B8E-48DA-806D-9369B4FAAF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8974139-FD97-4058-AB8C-468E1A00D26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18E2E28-8697-4D53-812A-182E1ECDAB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3/2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EE17BD1-087C-467F-BB1E-770A4F7160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4CBA102-9F00-41F8-8A50-F55A4FD021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6409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A36BC7-B360-4AE2-8267-72D7A7DE8B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8418821-23B4-43B8-B50F-5986F0B6760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0B61039-979C-47D4-8F58-B274DF600FA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9392F8A-3DC8-41F0-B640-899AE88638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3/2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123B43-6F40-4980-A6BA-C3F9B44D39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3DA2D5-D76C-4F39-B5F8-4A3E9EA065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8967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79581F-8CE0-4B5F-AF15-2422BEED87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3C00EB-6B29-4AE5-A2A3-161ECB5D5A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54CE27-845F-4DB9-8C88-84ED9F0C52F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7C563F-7DFC-4F51-AC3B-7A47316E0C9C}" type="datetimeFigureOut">
              <a:rPr lang="en-US" smtClean="0"/>
              <a:t>3/2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E16CAD-4C73-46FA-8ABB-171D1AF35D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07B1AA-2417-442B-97B0-4B59D89E41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8670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4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2935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cli/azure/install-azure-cli?view=azure-cli-latest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blog.timescale.com/blog/time-series-data-why-and-how-to-use-a-relational-database-instead-of-nosql-d0cd6975e87c/" TargetMode="External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0.jpeg"/><Relationship Id="rId4" Type="http://schemas.openxmlformats.org/officeDocument/2006/relationships/image" Target="../media/image39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7" Type="http://schemas.openxmlformats.org/officeDocument/2006/relationships/image" Target="../media/image46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Relationship Id="rId9" Type="http://schemas.openxmlformats.org/officeDocument/2006/relationships/image" Target="../media/image30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3" Type="http://schemas.openxmlformats.org/officeDocument/2006/relationships/image" Target="../media/image66.png"/><Relationship Id="rId7" Type="http://schemas.openxmlformats.org/officeDocument/2006/relationships/image" Target="../media/image70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9.png"/><Relationship Id="rId5" Type="http://schemas.openxmlformats.org/officeDocument/2006/relationships/image" Target="../media/image68.png"/><Relationship Id="rId10" Type="http://schemas.openxmlformats.org/officeDocument/2006/relationships/image" Target="../media/image73.jpeg"/><Relationship Id="rId4" Type="http://schemas.openxmlformats.org/officeDocument/2006/relationships/image" Target="../media/image67.png"/><Relationship Id="rId9" Type="http://schemas.openxmlformats.org/officeDocument/2006/relationships/image" Target="../media/image72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4.png"/><Relationship Id="rId4" Type="http://schemas.openxmlformats.org/officeDocument/2006/relationships/image" Target="../media/image26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9.png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0.pn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4.png"/><Relationship Id="rId4" Type="http://schemas.openxmlformats.org/officeDocument/2006/relationships/image" Target="../media/image83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8.png"/><Relationship Id="rId4" Type="http://schemas.openxmlformats.org/officeDocument/2006/relationships/image" Target="../media/image87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15.jpe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11" Type="http://schemas.openxmlformats.org/officeDocument/2006/relationships/image" Target="../media/image20.jpeg"/><Relationship Id="rId5" Type="http://schemas.openxmlformats.org/officeDocument/2006/relationships/image" Target="../media/image17.png"/><Relationship Id="rId10" Type="http://schemas.openxmlformats.org/officeDocument/2006/relationships/image" Target="../media/image19.png"/><Relationship Id="rId4" Type="http://schemas.openxmlformats.org/officeDocument/2006/relationships/image" Target="../media/image16.jpeg"/><Relationship Id="rId9" Type="http://schemas.openxmlformats.org/officeDocument/2006/relationships/image" Target="../media/image18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png"/><Relationship Id="rId4" Type="http://schemas.openxmlformats.org/officeDocument/2006/relationships/image" Target="../media/image23.png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7.png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0.png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7.png"/><Relationship Id="rId3" Type="http://schemas.openxmlformats.org/officeDocument/2006/relationships/image" Target="../media/image102.png"/><Relationship Id="rId7" Type="http://schemas.openxmlformats.org/officeDocument/2006/relationships/image" Target="../media/image106.png"/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05.png"/><Relationship Id="rId11" Type="http://schemas.openxmlformats.org/officeDocument/2006/relationships/image" Target="../media/image110.png"/><Relationship Id="rId5" Type="http://schemas.openxmlformats.org/officeDocument/2006/relationships/image" Target="../media/image104.png"/><Relationship Id="rId10" Type="http://schemas.openxmlformats.org/officeDocument/2006/relationships/image" Target="../media/image109.png"/><Relationship Id="rId4" Type="http://schemas.openxmlformats.org/officeDocument/2006/relationships/image" Target="../media/image103.tiff"/><Relationship Id="rId9" Type="http://schemas.openxmlformats.org/officeDocument/2006/relationships/image" Target="../media/image108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jpeg"/><Relationship Id="rId2" Type="http://schemas.openxmlformats.org/officeDocument/2006/relationships/image" Target="../media/image11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4.png"/><Relationship Id="rId4" Type="http://schemas.openxmlformats.org/officeDocument/2006/relationships/image" Target="../media/image113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hyperlink" Target="https://techcommunity.microsoft.com/t5/azure-sql/scaling-up-an-iot-workload-using-an-m-series-azure-sql-database/ba-p/1106271" TargetMode="External"/><Relationship Id="rId2" Type="http://schemas.openxmlformats.org/officeDocument/2006/relationships/hyperlink" Target="https://techcommunity.microsoft.com/t5/azure-sql/build-your-full-paas-iot-solution-with-azure-sql-database/ba-p/1759194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5.png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1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hyperlink" Target="https://azure.microsoft.com/en-us/services/stream-analytics/#features" TargetMode="External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png"/><Relationship Id="rId2" Type="http://schemas.openxmlformats.org/officeDocument/2006/relationships/image" Target="../media/image120.png"/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B513AF-C771-45FC-8DE1-0B88A52C27E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2298" y="1575337"/>
            <a:ext cx="9144000" cy="2387600"/>
          </a:xfrm>
        </p:spPr>
        <p:txBody>
          <a:bodyPr>
            <a:noAutofit/>
          </a:bodyPr>
          <a:lstStyle/>
          <a:p>
            <a:pPr algn="l"/>
            <a:r>
              <a:rPr lang="en-US" sz="4400"/>
              <a:t>IoT4Solution</a:t>
            </a:r>
            <a:r>
              <a:rPr lang="en-US" sz="4400" dirty="0"/>
              <a:t>/</a:t>
            </a:r>
            <a:r>
              <a:rPr lang="en-US" sz="4400"/>
              <a:t>Smart Start2</a:t>
            </a:r>
            <a:br>
              <a:rPr lang="en-US" sz="4400" dirty="0"/>
            </a:br>
            <a:r>
              <a:rPr lang="en-US" sz="4400" dirty="0"/>
              <a:t>using </a:t>
            </a:r>
            <a:br>
              <a:rPr lang="en-US" sz="4400" dirty="0"/>
            </a:br>
            <a:r>
              <a:rPr lang="en-US" sz="4400" dirty="0"/>
              <a:t>- Azure </a:t>
            </a:r>
            <a:r>
              <a:rPr lang="en-US" sz="4400" dirty="0" err="1"/>
              <a:t>IoTHub</a:t>
            </a:r>
            <a:r>
              <a:rPr lang="en-US" sz="4400" dirty="0"/>
              <a:t>, </a:t>
            </a:r>
            <a:br>
              <a:rPr lang="en-US" sz="4400" dirty="0"/>
            </a:br>
            <a:r>
              <a:rPr lang="en-US" sz="4400" dirty="0"/>
              <a:t>- Azure Stream Analytics</a:t>
            </a:r>
            <a:br>
              <a:rPr lang="en-US" sz="4400" dirty="0"/>
            </a:br>
            <a:r>
              <a:rPr lang="en-US" sz="4400" dirty="0"/>
              <a:t>- and Azure SQ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9A261B7-018E-4DA1-83A8-C960DB175DC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2298" y="4403148"/>
            <a:ext cx="9144000" cy="1655762"/>
          </a:xfrm>
        </p:spPr>
        <p:txBody>
          <a:bodyPr/>
          <a:lstStyle/>
          <a:p>
            <a:pPr algn="l"/>
            <a:r>
              <a:rPr lang="en-US" dirty="0"/>
              <a:t>Meinrad Weiss</a:t>
            </a:r>
          </a:p>
          <a:p>
            <a:pPr algn="l"/>
            <a:r>
              <a:rPr lang="en-US" dirty="0"/>
              <a:t>SR Cloud Solution Architect</a:t>
            </a:r>
          </a:p>
          <a:p>
            <a:pPr algn="l"/>
            <a:r>
              <a:rPr lang="en-US" dirty="0"/>
              <a:t>03.02.2021</a:t>
            </a:r>
          </a:p>
        </p:txBody>
      </p:sp>
      <p:pic>
        <p:nvPicPr>
          <p:cNvPr id="6146" name="Picture 2" descr="Internet-of-things icons | Noun Project">
            <a:extLst>
              <a:ext uri="{FF2B5EF4-FFF2-40B4-BE49-F238E27FC236}">
                <a16:creationId xmlns:a16="http://schemas.microsoft.com/office/drawing/2014/main" id="{B8EFE3CF-E71C-423F-9EDF-DF341FA2F4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9401" y="113006"/>
            <a:ext cx="4237378" cy="6081551"/>
          </a:xfrm>
          <a:prstGeom prst="rect">
            <a:avLst/>
          </a:prstGeom>
          <a:noFill/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C6B7581-967E-4AC5-9F95-9A9A119A5680}"/>
              </a:ext>
            </a:extLst>
          </p:cNvPr>
          <p:cNvSpPr/>
          <p:nvPr/>
        </p:nvSpPr>
        <p:spPr>
          <a:xfrm>
            <a:off x="0" y="6232682"/>
            <a:ext cx="12192000" cy="62531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C0CFBD1-A52A-423E-BFB0-74E5E09E8B5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09997" y="6074486"/>
            <a:ext cx="2097051" cy="941710"/>
          </a:xfrm>
          <a:prstGeom prst="rect">
            <a:avLst/>
          </a:prstGeom>
        </p:spPr>
      </p:pic>
      <p:pic>
        <p:nvPicPr>
          <p:cNvPr id="7" name="Picture 2" descr="Preise – IoT Hub | Microsoft Azure">
            <a:extLst>
              <a:ext uri="{FF2B5EF4-FFF2-40B4-BE49-F238E27FC236}">
                <a16:creationId xmlns:a16="http://schemas.microsoft.com/office/drawing/2014/main" id="{4730386E-B052-4F62-B18F-104C6ECA02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0216" y="6325204"/>
            <a:ext cx="838615" cy="440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Microsoft BI Tools: Azure Stream Analytics">
            <a:extLst>
              <a:ext uri="{FF2B5EF4-FFF2-40B4-BE49-F238E27FC236}">
                <a16:creationId xmlns:a16="http://schemas.microsoft.com/office/drawing/2014/main" id="{B67399B0-E601-4034-8264-A47552C11F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5129" y="6372789"/>
            <a:ext cx="489305" cy="3777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Azure SQL Database with Elastic pools – Lee's Tech Blog">
            <a:extLst>
              <a:ext uri="{FF2B5EF4-FFF2-40B4-BE49-F238E27FC236}">
                <a16:creationId xmlns:a16="http://schemas.microsoft.com/office/drawing/2014/main" id="{559DF8F2-FE32-457F-8CBA-0962457373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50731" y="6325204"/>
            <a:ext cx="489304" cy="489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Arrow: Right 12">
            <a:extLst>
              <a:ext uri="{FF2B5EF4-FFF2-40B4-BE49-F238E27FC236}">
                <a16:creationId xmlns:a16="http://schemas.microsoft.com/office/drawing/2014/main" id="{D9DAB03D-E0A4-4B0C-A8DA-B68EF73032A3}"/>
              </a:ext>
            </a:extLst>
          </p:cNvPr>
          <p:cNvSpPr/>
          <p:nvPr/>
        </p:nvSpPr>
        <p:spPr>
          <a:xfrm>
            <a:off x="8120358" y="6437214"/>
            <a:ext cx="489304" cy="313347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583BAE73-C070-43F6-9406-B866032E20B4}"/>
              </a:ext>
            </a:extLst>
          </p:cNvPr>
          <p:cNvSpPr/>
          <p:nvPr/>
        </p:nvSpPr>
        <p:spPr>
          <a:xfrm>
            <a:off x="9590675" y="6423837"/>
            <a:ext cx="489304" cy="313347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9584796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D02940-B6DD-487B-8583-8B76159ED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in Azure SQL Database Structures </a:t>
            </a:r>
          </a:p>
        </p:txBody>
      </p:sp>
      <p:sp>
        <p:nvSpPr>
          <p:cNvPr id="4" name="Flowchart: Magnetic Disk 3">
            <a:extLst>
              <a:ext uri="{FF2B5EF4-FFF2-40B4-BE49-F238E27FC236}">
                <a16:creationId xmlns:a16="http://schemas.microsoft.com/office/drawing/2014/main" id="{4FA36A61-2F59-4FE6-865E-3C04B4F1F559}"/>
              </a:ext>
            </a:extLst>
          </p:cNvPr>
          <p:cNvSpPr/>
          <p:nvPr/>
        </p:nvSpPr>
        <p:spPr>
          <a:xfrm>
            <a:off x="1511870" y="1421844"/>
            <a:ext cx="10379110" cy="5337683"/>
          </a:xfrm>
          <a:prstGeom prst="flowChartMagneticDisk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71EB808-A8DE-4F25-901A-69EF93895A4C}"/>
              </a:ext>
            </a:extLst>
          </p:cNvPr>
          <p:cNvCxnSpPr>
            <a:cxnSpLocks/>
          </p:cNvCxnSpPr>
          <p:nvPr/>
        </p:nvCxnSpPr>
        <p:spPr>
          <a:xfrm>
            <a:off x="4858377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EA6C428-F9E0-4C5F-98AD-1D3FCA2D65D1}"/>
              </a:ext>
            </a:extLst>
          </p:cNvPr>
          <p:cNvCxnSpPr>
            <a:cxnSpLocks/>
          </p:cNvCxnSpPr>
          <p:nvPr/>
        </p:nvCxnSpPr>
        <p:spPr>
          <a:xfrm>
            <a:off x="8542772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C8DC9DA-BD43-421D-88F8-45836804F1E5}"/>
              </a:ext>
            </a:extLst>
          </p:cNvPr>
          <p:cNvSpPr txBox="1"/>
          <p:nvPr/>
        </p:nvSpPr>
        <p:spPr>
          <a:xfrm>
            <a:off x="2451797" y="1792403"/>
            <a:ext cx="7508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ges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8A31ED-B6F9-4F1D-B961-0891206C437A}"/>
              </a:ext>
            </a:extLst>
          </p:cNvPr>
          <p:cNvSpPr txBox="1"/>
          <p:nvPr/>
        </p:nvSpPr>
        <p:spPr>
          <a:xfrm>
            <a:off x="6342444" y="1792403"/>
            <a:ext cx="6224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r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FBF16C-EF3A-4A6A-8ACA-8BB31472758B}"/>
              </a:ext>
            </a:extLst>
          </p:cNvPr>
          <p:cNvSpPr txBox="1"/>
          <p:nvPr/>
        </p:nvSpPr>
        <p:spPr>
          <a:xfrm>
            <a:off x="9689449" y="1792403"/>
            <a:ext cx="6495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art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8A7DB9E9-F180-424A-AC91-4E7E3F11897E}"/>
              </a:ext>
            </a:extLst>
          </p:cNvPr>
          <p:cNvSpPr/>
          <p:nvPr/>
        </p:nvSpPr>
        <p:spPr>
          <a:xfrm>
            <a:off x="1044781" y="2625516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Picture 2" descr="Microsoft BI Tools: Azure Stream Analytics">
            <a:extLst>
              <a:ext uri="{FF2B5EF4-FFF2-40B4-BE49-F238E27FC236}">
                <a16:creationId xmlns:a16="http://schemas.microsoft.com/office/drawing/2014/main" id="{A16FF947-FC42-4A4F-9109-4E54F4F18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972" y="3690994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762EDC4B-80DA-4236-B094-C4CF49C8E0A9}"/>
              </a:ext>
            </a:extLst>
          </p:cNvPr>
          <p:cNvSpPr txBox="1"/>
          <p:nvPr/>
        </p:nvSpPr>
        <p:spPr>
          <a:xfrm>
            <a:off x="142658" y="4213488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sp>
        <p:nvSpPr>
          <p:cNvPr id="39" name="Arrow: Right 38">
            <a:extLst>
              <a:ext uri="{FF2B5EF4-FFF2-40B4-BE49-F238E27FC236}">
                <a16:creationId xmlns:a16="http://schemas.microsoft.com/office/drawing/2014/main" id="{E9656CDD-D9D9-4121-A8A2-1E39931B8A19}"/>
              </a:ext>
            </a:extLst>
          </p:cNvPr>
          <p:cNvSpPr/>
          <p:nvPr/>
        </p:nvSpPr>
        <p:spPr>
          <a:xfrm>
            <a:off x="8184382" y="2838368"/>
            <a:ext cx="713433" cy="653143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30EBEC1A-7F8A-4648-BD20-BBE11369AD6C}"/>
              </a:ext>
            </a:extLst>
          </p:cNvPr>
          <p:cNvSpPr/>
          <p:nvPr/>
        </p:nvSpPr>
        <p:spPr>
          <a:xfrm>
            <a:off x="1055681" y="3560344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Arrow: Right 24">
            <a:extLst>
              <a:ext uri="{FF2B5EF4-FFF2-40B4-BE49-F238E27FC236}">
                <a16:creationId xmlns:a16="http://schemas.microsoft.com/office/drawing/2014/main" id="{6FBA0D59-BB13-4210-8B6C-4F43E894BD22}"/>
              </a:ext>
            </a:extLst>
          </p:cNvPr>
          <p:cNvSpPr/>
          <p:nvPr/>
        </p:nvSpPr>
        <p:spPr>
          <a:xfrm>
            <a:off x="1045923" y="5168704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8F832C79-4CEB-45D3-8919-D7B181BDB436}"/>
              </a:ext>
            </a:extLst>
          </p:cNvPr>
          <p:cNvCxnSpPr/>
          <p:nvPr/>
        </p:nvCxnSpPr>
        <p:spPr>
          <a:xfrm>
            <a:off x="1574656" y="4642338"/>
            <a:ext cx="6932106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3B122783-3F72-400D-ACFB-48A495F8EA5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149" t="2175" r="5258" b="4129"/>
          <a:stretch/>
        </p:blipFill>
        <p:spPr>
          <a:xfrm>
            <a:off x="6096000" y="2263450"/>
            <a:ext cx="1440619" cy="223063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6FF1D5A-DE47-4643-9343-7720D7B339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23328" y="4888727"/>
            <a:ext cx="2757508" cy="1562111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904F2CD-6C56-4491-9E2A-910231D546B7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57945" y="3555287"/>
            <a:ext cx="2028840" cy="100013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1025047B-F8DA-482E-91BC-400E2CA88320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54575" y="2552154"/>
            <a:ext cx="2009790" cy="781056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0BFF8E86-24C3-4762-8256-37638D86FBD4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848965" y="4729258"/>
            <a:ext cx="2724170" cy="1476386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E8C1D313-F891-45FC-9009-A5812CBA0DAD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536211" y="2552154"/>
            <a:ext cx="1500195" cy="117556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9077296-8059-4295-9D65-CC401EBD436D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548926" y="3886915"/>
            <a:ext cx="1500198" cy="1481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07961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39" grpId="0" animBg="1"/>
      <p:bldP spid="24" grpId="0" animBg="1"/>
      <p:bldP spid="25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9A72E6-FF28-4CEF-9B72-934129EB85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loyment</a:t>
            </a:r>
            <a:endParaRPr lang="en-CH" dirty="0"/>
          </a:p>
        </p:txBody>
      </p:sp>
      <p:pic>
        <p:nvPicPr>
          <p:cNvPr id="1026" name="Picture 2" descr="A picture containing chart&#10;&#10;Description automatically generated">
            <a:extLst>
              <a:ext uri="{FF2B5EF4-FFF2-40B4-BE49-F238E27FC236}">
                <a16:creationId xmlns:a16="http://schemas.microsoft.com/office/drawing/2014/main" id="{D7CD0DD5-F0E9-4ABB-8236-FE65387B847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39"/>
          <a:stretch/>
        </p:blipFill>
        <p:spPr bwMode="auto">
          <a:xfrm>
            <a:off x="6096800" y="841895"/>
            <a:ext cx="5368606" cy="21063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43051352-095A-4410-8A49-30F9AD33B44C}"/>
              </a:ext>
            </a:extLst>
          </p:cNvPr>
          <p:cNvGrpSpPr/>
          <p:nvPr/>
        </p:nvGrpSpPr>
        <p:grpSpPr>
          <a:xfrm>
            <a:off x="949806" y="1690689"/>
            <a:ext cx="3954330" cy="3250352"/>
            <a:chOff x="949806" y="1690688"/>
            <a:chExt cx="4063360" cy="3303657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267DFD7F-70A2-43D2-95D1-7795D9B3C02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49806" y="1690688"/>
              <a:ext cx="4062442" cy="590554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C81DE358-D927-4847-82DF-A110E3B67D2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49807" y="2281242"/>
              <a:ext cx="4062442" cy="400053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B56325E2-D07D-4FD3-8788-5BFCEBAEC58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80267" y="2810198"/>
              <a:ext cx="4032899" cy="2184147"/>
            </a:xfrm>
            <a:prstGeom prst="rect">
              <a:avLst/>
            </a:prstGeom>
          </p:spPr>
        </p:pic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DD553C30-361B-4AA3-ACB1-95450470075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6884"/>
          <a:stretch/>
        </p:blipFill>
        <p:spPr>
          <a:xfrm>
            <a:off x="4200273" y="4465696"/>
            <a:ext cx="3192836" cy="1152561"/>
          </a:xfrm>
          <a:prstGeom prst="rect">
            <a:avLst/>
          </a:prstGeom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0B61003C-D3C9-48B3-8B04-18DDA81A9FD2}"/>
              </a:ext>
            </a:extLst>
          </p:cNvPr>
          <p:cNvSpPr/>
          <p:nvPr/>
        </p:nvSpPr>
        <p:spPr>
          <a:xfrm>
            <a:off x="698255" y="3185734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  <a:endParaRPr lang="en-CH"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F1D57023-DA5B-4357-BA2E-6A2773891EA7}"/>
              </a:ext>
            </a:extLst>
          </p:cNvPr>
          <p:cNvSpPr/>
          <p:nvPr/>
        </p:nvSpPr>
        <p:spPr>
          <a:xfrm rot="3086698">
            <a:off x="9833248" y="836804"/>
            <a:ext cx="881596" cy="257705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4946BC99-8F9D-4902-907A-0B964B6A321F}"/>
              </a:ext>
            </a:extLst>
          </p:cNvPr>
          <p:cNvSpPr/>
          <p:nvPr/>
        </p:nvSpPr>
        <p:spPr>
          <a:xfrm>
            <a:off x="10370149" y="2268231"/>
            <a:ext cx="401844" cy="38544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  <a:endParaRPr lang="en-CH" dirty="0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EFA73373-BB87-4F58-A9CB-2625092C7ADA}"/>
              </a:ext>
            </a:extLst>
          </p:cNvPr>
          <p:cNvSpPr/>
          <p:nvPr/>
        </p:nvSpPr>
        <p:spPr>
          <a:xfrm>
            <a:off x="7343314" y="977526"/>
            <a:ext cx="401844" cy="38544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  <a:endParaRPr lang="en-CH" dirty="0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EBDE7EED-1A39-4BFD-80EF-DBAA4FF7CB3F}"/>
              </a:ext>
            </a:extLst>
          </p:cNvPr>
          <p:cNvSpPr/>
          <p:nvPr/>
        </p:nvSpPr>
        <p:spPr>
          <a:xfrm>
            <a:off x="698255" y="3524342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  <a:endParaRPr lang="en-CH" dirty="0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3B5CBAD2-A2F8-43AE-85FC-B60D3A8C58E3}"/>
              </a:ext>
            </a:extLst>
          </p:cNvPr>
          <p:cNvSpPr/>
          <p:nvPr/>
        </p:nvSpPr>
        <p:spPr>
          <a:xfrm>
            <a:off x="9440693" y="784805"/>
            <a:ext cx="401844" cy="38544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  <a:endParaRPr lang="en-CH" dirty="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495C4457-6C63-4E65-991A-D879E9420C3A}"/>
              </a:ext>
            </a:extLst>
          </p:cNvPr>
          <p:cNvSpPr/>
          <p:nvPr/>
        </p:nvSpPr>
        <p:spPr>
          <a:xfrm>
            <a:off x="698255" y="3881019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  <a:endParaRPr lang="en-CH" dirty="0"/>
          </a:p>
        </p:txBody>
      </p:sp>
      <p:sp>
        <p:nvSpPr>
          <p:cNvPr id="25" name="Arrow: Bent 24">
            <a:extLst>
              <a:ext uri="{FF2B5EF4-FFF2-40B4-BE49-F238E27FC236}">
                <a16:creationId xmlns:a16="http://schemas.microsoft.com/office/drawing/2014/main" id="{C7CBFC7C-3B4D-4388-83E1-2CB837F92D87}"/>
              </a:ext>
            </a:extLst>
          </p:cNvPr>
          <p:cNvSpPr/>
          <p:nvPr/>
        </p:nvSpPr>
        <p:spPr>
          <a:xfrm flipV="1">
            <a:off x="2944732" y="4377550"/>
            <a:ext cx="1164527" cy="902099"/>
          </a:xfrm>
          <a:prstGeom prst="ben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dirty="0">
              <a:solidFill>
                <a:schemeClr val="tx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3BA1AC7-AC9E-45D0-8690-07301577FA19}"/>
              </a:ext>
            </a:extLst>
          </p:cNvPr>
          <p:cNvSpPr txBox="1"/>
          <p:nvPr/>
        </p:nvSpPr>
        <p:spPr>
          <a:xfrm>
            <a:off x="3166960" y="4857310"/>
            <a:ext cx="7200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Clone</a:t>
            </a:r>
            <a:endParaRPr lang="en-CH" dirty="0">
              <a:solidFill>
                <a:schemeClr val="bg1"/>
              </a:solidFill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E8C37F46-47DC-4DCB-8218-811680C3028C}"/>
              </a:ext>
            </a:extLst>
          </p:cNvPr>
          <p:cNvSpPr/>
          <p:nvPr/>
        </p:nvSpPr>
        <p:spPr>
          <a:xfrm>
            <a:off x="2779754" y="4847877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0</a:t>
            </a:r>
            <a:endParaRPr lang="en-CH" dirty="0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77A65739-B156-4C38-80AD-AAC6F0F34DBF}"/>
              </a:ext>
            </a:extLst>
          </p:cNvPr>
          <p:cNvSpPr/>
          <p:nvPr/>
        </p:nvSpPr>
        <p:spPr>
          <a:xfrm>
            <a:off x="7857272" y="3639065"/>
            <a:ext cx="341699" cy="287848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0</a:t>
            </a:r>
            <a:endParaRPr lang="en-CH" dirty="0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603CFEA9-798D-4236-A9A5-2F5C387C1A28}"/>
              </a:ext>
            </a:extLst>
          </p:cNvPr>
          <p:cNvSpPr/>
          <p:nvPr/>
        </p:nvSpPr>
        <p:spPr>
          <a:xfrm>
            <a:off x="7857271" y="5264156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  <a:endParaRPr lang="en-CH" dirty="0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3A5183BC-6D7C-41A2-82D8-56DB98F929FA}"/>
              </a:ext>
            </a:extLst>
          </p:cNvPr>
          <p:cNvSpPr/>
          <p:nvPr/>
        </p:nvSpPr>
        <p:spPr>
          <a:xfrm>
            <a:off x="7860466" y="5683723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  <a:endParaRPr lang="en-CH" dirty="0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DE465461-7639-428C-8716-C3BE1547068B}"/>
              </a:ext>
            </a:extLst>
          </p:cNvPr>
          <p:cNvSpPr/>
          <p:nvPr/>
        </p:nvSpPr>
        <p:spPr>
          <a:xfrm>
            <a:off x="7857270" y="6103290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  <a:endParaRPr lang="en-CH" dirty="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52A5950-7F95-430F-A8C2-E370E3AF73B0}"/>
              </a:ext>
            </a:extLst>
          </p:cNvPr>
          <p:cNvSpPr txBox="1"/>
          <p:nvPr/>
        </p:nvSpPr>
        <p:spPr>
          <a:xfrm>
            <a:off x="8278807" y="3598323"/>
            <a:ext cx="3519746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Deploy Azure Services:</a:t>
            </a:r>
          </a:p>
          <a:p>
            <a:pPr marL="285750" indent="-285750">
              <a:buFontTx/>
              <a:buChar char="-"/>
            </a:pPr>
            <a:r>
              <a:rPr lang="en-US" sz="1600" dirty="0"/>
              <a:t>Azure Storage Account</a:t>
            </a:r>
          </a:p>
          <a:p>
            <a:pPr marL="285750" indent="-285750">
              <a:buFontTx/>
              <a:buChar char="-"/>
            </a:pPr>
            <a:r>
              <a:rPr lang="en-US" sz="1600" dirty="0"/>
              <a:t>Azure IoT Hub</a:t>
            </a:r>
          </a:p>
          <a:p>
            <a:pPr marL="285750" indent="-285750">
              <a:buFontTx/>
              <a:buChar char="-"/>
            </a:pPr>
            <a:r>
              <a:rPr lang="en-US" sz="1600" dirty="0"/>
              <a:t>Azure Stream Analytics Job</a:t>
            </a:r>
          </a:p>
          <a:p>
            <a:pPr marL="285750" indent="-285750">
              <a:buFontTx/>
              <a:buChar char="-"/>
            </a:pPr>
            <a:r>
              <a:rPr lang="en-US" sz="1600" dirty="0"/>
              <a:t>Azure SQL Database</a:t>
            </a:r>
          </a:p>
          <a:p>
            <a:r>
              <a:rPr lang="en-US" sz="1600" dirty="0"/>
              <a:t>Clone Git Repo to Visual Studio 2019/22</a:t>
            </a:r>
            <a:endParaRPr lang="en-CH" sz="1600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CFE86FE2-73B9-4092-9B95-7C0B338FFB3F}"/>
              </a:ext>
            </a:extLst>
          </p:cNvPr>
          <p:cNvSpPr txBox="1"/>
          <p:nvPr/>
        </p:nvSpPr>
        <p:spPr>
          <a:xfrm>
            <a:off x="8278807" y="5246992"/>
            <a:ext cx="26541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Deploy SQL Database Schema</a:t>
            </a:r>
            <a:endParaRPr lang="en-CH" sz="1600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008BDB7-9389-4439-8965-F0412520A7DF}"/>
              </a:ext>
            </a:extLst>
          </p:cNvPr>
          <p:cNvSpPr txBox="1"/>
          <p:nvPr/>
        </p:nvSpPr>
        <p:spPr>
          <a:xfrm>
            <a:off x="8278807" y="5668328"/>
            <a:ext cx="345261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dd Device &amp; Configure C# Application </a:t>
            </a:r>
            <a:endParaRPr lang="en-CH" sz="1600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BC20726-28F8-4566-8C38-DC03F3875BD0}"/>
              </a:ext>
            </a:extLst>
          </p:cNvPr>
          <p:cNvSpPr txBox="1"/>
          <p:nvPr/>
        </p:nvSpPr>
        <p:spPr>
          <a:xfrm>
            <a:off x="8278807" y="6089664"/>
            <a:ext cx="348550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Define and Deploy Stream Analytics Job</a:t>
            </a:r>
            <a:endParaRPr lang="en-CH" sz="1600" dirty="0"/>
          </a:p>
        </p:txBody>
      </p:sp>
    </p:spTree>
    <p:extLst>
      <p:ext uri="{BB962C8B-B14F-4D97-AF65-F5344CB8AC3E}">
        <p14:creationId xmlns:p14="http://schemas.microsoft.com/office/powerpoint/2010/main" val="7030252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6" grpId="0" animBg="1"/>
      <p:bldP spid="14" grpId="0" animBg="1"/>
      <p:bldP spid="17" grpId="0" animBg="1"/>
      <p:bldP spid="19" grpId="0" animBg="1"/>
      <p:bldP spid="21" grpId="0" animBg="1"/>
      <p:bldP spid="23" grpId="0" animBg="1"/>
      <p:bldP spid="31" grpId="0" animBg="1"/>
      <p:bldP spid="33" grpId="0" animBg="1"/>
      <p:bldP spid="37" grpId="0" animBg="1"/>
      <p:bldP spid="40" grpId="0"/>
      <p:bldP spid="42" grpId="0"/>
      <p:bldP spid="44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561ECE-5A84-4801-974D-76E5DE8759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loy Azure Service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E9384F-245A-4EB4-A1D6-A7E5D1723D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28807"/>
            <a:ext cx="10515600" cy="4351338"/>
          </a:xfrm>
        </p:spPr>
        <p:txBody>
          <a:bodyPr/>
          <a:lstStyle/>
          <a:p>
            <a:pPr marL="0" indent="0" algn="l">
              <a:buNone/>
            </a:pPr>
            <a:r>
              <a:rPr lang="en-US" sz="2000" b="1" i="0" dirty="0">
                <a:solidFill>
                  <a:srgbClr val="24292F"/>
                </a:solidFill>
                <a:effectLst/>
                <a:latin typeface="-apple-system"/>
              </a:rPr>
              <a:t>Deploy via </a:t>
            </a:r>
            <a:r>
              <a:rPr lang="en-US" sz="2000" b="1" i="0" dirty="0" err="1">
                <a:solidFill>
                  <a:srgbClr val="24292F"/>
                </a:solidFill>
                <a:effectLst/>
                <a:latin typeface="-apple-system"/>
              </a:rPr>
              <a:t>commandline</a:t>
            </a:r>
            <a:endParaRPr lang="en-US" sz="2000" b="1" i="0" dirty="0">
              <a:solidFill>
                <a:srgbClr val="24292F"/>
              </a:solidFill>
              <a:effectLst/>
              <a:latin typeface="-apple-system"/>
            </a:endParaRPr>
          </a:p>
          <a:p>
            <a:pPr algn="l"/>
            <a:r>
              <a:rPr lang="en-US" sz="1400" b="0" i="0" dirty="0">
                <a:solidFill>
                  <a:srgbClr val="24292F"/>
                </a:solidFill>
                <a:effectLst/>
                <a:latin typeface="-apple-system"/>
              </a:rPr>
              <a:t>To deploy to Azure via the </a:t>
            </a:r>
            <a:r>
              <a:rPr lang="en-US" sz="1400" b="0" i="0" dirty="0" err="1">
                <a:solidFill>
                  <a:srgbClr val="24292F"/>
                </a:solidFill>
                <a:effectLst/>
                <a:latin typeface="-apple-system"/>
              </a:rPr>
              <a:t>commandline</a:t>
            </a:r>
            <a:r>
              <a:rPr lang="en-US" sz="1400" b="0" i="0" dirty="0">
                <a:solidFill>
                  <a:srgbClr val="24292F"/>
                </a:solidFill>
                <a:effectLst/>
                <a:latin typeface="-apple-system"/>
              </a:rPr>
              <a:t>, first ensure you have the latest Azure CLI installed from </a:t>
            </a:r>
            <a:r>
              <a:rPr lang="en-US" sz="1400" b="0" i="0" u="none" strike="noStrike" dirty="0">
                <a:solidFill>
                  <a:srgbClr val="24292F"/>
                </a:solidFill>
                <a:effectLst/>
                <a:latin typeface="-apple-system"/>
                <a:hlinkClick r:id="rId3"/>
              </a:rPr>
              <a:t>here</a:t>
            </a:r>
            <a:r>
              <a:rPr lang="en-US" sz="1400" b="0" i="0" dirty="0">
                <a:solidFill>
                  <a:srgbClr val="24292F"/>
                </a:solidFill>
                <a:effectLst/>
                <a:latin typeface="-apple-system"/>
              </a:rPr>
              <a:t>.</a:t>
            </a:r>
          </a:p>
          <a:p>
            <a:pPr algn="l"/>
            <a:r>
              <a:rPr lang="en-US" sz="1400" b="0" i="0" dirty="0">
                <a:solidFill>
                  <a:srgbClr val="24292F"/>
                </a:solidFill>
                <a:effectLst/>
                <a:latin typeface="-apple-system"/>
              </a:rPr>
              <a:t>Make sure your subscription is set active:</a:t>
            </a:r>
            <a:br>
              <a:rPr lang="en-US" sz="1400" b="0" i="0" dirty="0">
                <a:solidFill>
                  <a:srgbClr val="24292F"/>
                </a:solidFill>
                <a:effectLst/>
                <a:latin typeface="-apple-system"/>
              </a:rPr>
            </a:br>
            <a:br>
              <a:rPr lang="en-US" sz="1400" b="0" i="0" dirty="0">
                <a:solidFill>
                  <a:srgbClr val="24292F"/>
                </a:solidFill>
                <a:effectLst/>
                <a:latin typeface="-apple-system"/>
              </a:rPr>
            </a:br>
            <a:endParaRPr lang="en-US" sz="1400" b="0" i="0" dirty="0">
              <a:solidFill>
                <a:srgbClr val="24292F"/>
              </a:solidFill>
              <a:effectLst/>
              <a:latin typeface="-apple-system"/>
            </a:endParaRPr>
          </a:p>
          <a:p>
            <a:pPr marL="0" indent="0" algn="l">
              <a:buNone/>
            </a:pPr>
            <a:r>
              <a:rPr lang="en-US" sz="2000" b="1" dirty="0">
                <a:solidFill>
                  <a:srgbClr val="24292F"/>
                </a:solidFill>
                <a:latin typeface="-apple-system"/>
              </a:rPr>
              <a:t>Navigate your Shell to the folder of the ARM template.</a:t>
            </a:r>
          </a:p>
          <a:p>
            <a:pPr algn="l"/>
            <a:r>
              <a:rPr lang="en-US" sz="1400" b="0" i="0" dirty="0">
                <a:solidFill>
                  <a:srgbClr val="24292F"/>
                </a:solidFill>
                <a:effectLst/>
                <a:latin typeface="-apple-system"/>
              </a:rPr>
              <a:t>To manually enter the necessary parameters during the deployment process run the following command:</a:t>
            </a:r>
          </a:p>
          <a:p>
            <a:pPr algn="l"/>
            <a:endParaRPr lang="en-US" sz="2000" b="0" i="0" dirty="0">
              <a:solidFill>
                <a:srgbClr val="24292F"/>
              </a:solidFill>
              <a:effectLst/>
              <a:latin typeface="-apple-system"/>
            </a:endParaRPr>
          </a:p>
          <a:p>
            <a:pPr>
              <a:buFontTx/>
              <a:buChar char="-"/>
            </a:pPr>
            <a:endParaRPr lang="en-US" dirty="0"/>
          </a:p>
          <a:p>
            <a:pPr marL="0" indent="0">
              <a:buNone/>
            </a:pPr>
            <a:endParaRPr lang="en-CH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5E43799B-FC62-4EC3-8524-150BD1D91EA0}"/>
              </a:ext>
            </a:extLst>
          </p:cNvPr>
          <p:cNvSpPr/>
          <p:nvPr/>
        </p:nvSpPr>
        <p:spPr>
          <a:xfrm>
            <a:off x="390356" y="850760"/>
            <a:ext cx="341699" cy="287848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0</a:t>
            </a:r>
            <a:endParaRPr lang="en-CH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952306C-6E96-41FD-B75D-DCD843C9640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4867" y="4140715"/>
            <a:ext cx="6360969" cy="2155342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9E08DB1-2EDA-4C56-9389-90566BA197C6}"/>
              </a:ext>
            </a:extLst>
          </p:cNvPr>
          <p:cNvSpPr txBox="1"/>
          <p:nvPr/>
        </p:nvSpPr>
        <p:spPr>
          <a:xfrm>
            <a:off x="884867" y="2663563"/>
            <a:ext cx="9698390" cy="2616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en-CH" sz="11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z</a:t>
            </a:r>
            <a:r>
              <a:rPr lang="en-CH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 account set --subscription </a:t>
            </a:r>
            <a:r>
              <a:rPr lang="en-US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en-CH" sz="11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yoursubscription</a:t>
            </a:r>
            <a:r>
              <a:rPr lang="en-US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endParaRPr lang="en-CH" sz="11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D04D95B-773E-46AA-B9AB-C93E828C8F19}"/>
              </a:ext>
            </a:extLst>
          </p:cNvPr>
          <p:cNvSpPr txBox="1"/>
          <p:nvPr/>
        </p:nvSpPr>
        <p:spPr>
          <a:xfrm>
            <a:off x="884867" y="3711974"/>
            <a:ext cx="10956278" cy="2616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en-CH" sz="11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z</a:t>
            </a:r>
            <a:r>
              <a:rPr lang="en-CH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 group deployment create --name </a:t>
            </a:r>
            <a:r>
              <a:rPr lang="en-US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en-CH" sz="11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xampleDeployment</a:t>
            </a:r>
            <a:r>
              <a:rPr lang="en-US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r>
              <a:rPr lang="en-CH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 --resource-group </a:t>
            </a:r>
            <a:r>
              <a:rPr lang="en-US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en-CH" sz="11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YourResourceGroup</a:t>
            </a:r>
            <a:r>
              <a:rPr lang="en-US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r>
              <a:rPr lang="en-CH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 --template-file </a:t>
            </a:r>
            <a:r>
              <a:rPr lang="en-CH" sz="11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zuredeployBasic.json</a:t>
            </a:r>
            <a:endParaRPr lang="en-CH" sz="11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1C1CF4A-283F-4D64-9C72-3B2B0EE7D433}"/>
              </a:ext>
            </a:extLst>
          </p:cNvPr>
          <p:cNvSpPr/>
          <p:nvPr/>
        </p:nvSpPr>
        <p:spPr>
          <a:xfrm>
            <a:off x="1267040" y="5180735"/>
            <a:ext cx="401844" cy="1082519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15" name="Callout: Bent Line 14">
            <a:extLst>
              <a:ext uri="{FF2B5EF4-FFF2-40B4-BE49-F238E27FC236}">
                <a16:creationId xmlns:a16="http://schemas.microsoft.com/office/drawing/2014/main" id="{FD176B08-D713-4B07-8009-FBFE5EB62CCE}"/>
              </a:ext>
            </a:extLst>
          </p:cNvPr>
          <p:cNvSpPr/>
          <p:nvPr/>
        </p:nvSpPr>
        <p:spPr>
          <a:xfrm>
            <a:off x="2069539" y="4529551"/>
            <a:ext cx="2227732" cy="354868"/>
          </a:xfrm>
          <a:prstGeom prst="borderCallout2">
            <a:avLst>
              <a:gd name="adj1" fmla="val 116944"/>
              <a:gd name="adj2" fmla="val 8088"/>
              <a:gd name="adj3" fmla="val 203130"/>
              <a:gd name="adj4" fmla="val 7760"/>
              <a:gd name="adj5" fmla="val 247575"/>
              <a:gd name="adj6" fmla="val -1513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CH" dirty="0" err="1"/>
              <a:t>uniqueSolutionPrefix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219841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54DCD3-BC4D-48C6-BD87-E4DF887A0A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loy SQL Database Schem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445983-472C-4B80-9376-020A8CE484C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25625"/>
            <a:ext cx="5812727" cy="4351338"/>
          </a:xfrm>
        </p:spPr>
        <p:txBody>
          <a:bodyPr/>
          <a:lstStyle/>
          <a:p>
            <a:r>
              <a:rPr lang="en-US" dirty="0"/>
              <a:t>Start Publish process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  <a:p>
            <a:r>
              <a:rPr lang="en-US" dirty="0"/>
              <a:t>Define “target database connection:” and press [Publish]</a:t>
            </a:r>
            <a:endParaRPr lang="en-CH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1E22D8F-C098-49B6-A141-75CA6A2F09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12353" y="1891610"/>
            <a:ext cx="2179805" cy="1723472"/>
          </a:xfrm>
          <a:prstGeom prst="rect">
            <a:avLst/>
          </a:prstGeom>
          <a:ln w="3175">
            <a:solidFill>
              <a:schemeClr val="tx1">
                <a:lumMod val="85000"/>
                <a:lumOff val="15000"/>
              </a:schemeClr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6260CEE-0E24-4B59-8EC4-6166461F4F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12353" y="4346102"/>
            <a:ext cx="3891055" cy="2183880"/>
          </a:xfrm>
          <a:prstGeom prst="rect">
            <a:avLst/>
          </a:prstGeom>
          <a:ln w="3175">
            <a:solidFill>
              <a:schemeClr val="tx1">
                <a:lumMod val="85000"/>
                <a:lumOff val="15000"/>
              </a:schemeClr>
            </a:solidFill>
          </a:ln>
        </p:spPr>
      </p:pic>
      <p:sp>
        <p:nvSpPr>
          <p:cNvPr id="11" name="Arrow: Down 10">
            <a:extLst>
              <a:ext uri="{FF2B5EF4-FFF2-40B4-BE49-F238E27FC236}">
                <a16:creationId xmlns:a16="http://schemas.microsoft.com/office/drawing/2014/main" id="{557C4825-FEA6-4B1A-8CF6-BACFF34AA309}"/>
              </a:ext>
            </a:extLst>
          </p:cNvPr>
          <p:cNvSpPr/>
          <p:nvPr/>
        </p:nvSpPr>
        <p:spPr>
          <a:xfrm>
            <a:off x="7175785" y="4649909"/>
            <a:ext cx="319835" cy="21732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13" name="Arrow: Down 12">
            <a:extLst>
              <a:ext uri="{FF2B5EF4-FFF2-40B4-BE49-F238E27FC236}">
                <a16:creationId xmlns:a16="http://schemas.microsoft.com/office/drawing/2014/main" id="{4E68B3E1-5C6A-478A-B37B-66C1C1E951AD}"/>
              </a:ext>
            </a:extLst>
          </p:cNvPr>
          <p:cNvSpPr/>
          <p:nvPr/>
        </p:nvSpPr>
        <p:spPr>
          <a:xfrm>
            <a:off x="7237975" y="5959640"/>
            <a:ext cx="319835" cy="21732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9B23537B-554E-42D2-8190-267D33B945A7}"/>
              </a:ext>
            </a:extLst>
          </p:cNvPr>
          <p:cNvSpPr/>
          <p:nvPr/>
        </p:nvSpPr>
        <p:spPr>
          <a:xfrm>
            <a:off x="370219" y="827976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22585348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BAAC6B-E568-4B46-A63C-35647535E1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just DB to your project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5F7925-CF44-4A6E-994B-71B70500D0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25625"/>
            <a:ext cx="10766070" cy="4351338"/>
          </a:xfrm>
        </p:spPr>
        <p:txBody>
          <a:bodyPr>
            <a:normAutofit/>
          </a:bodyPr>
          <a:lstStyle/>
          <a:p>
            <a:r>
              <a:rPr lang="en-US" sz="2000" dirty="0"/>
              <a:t>Partitions are key to keep performance at </a:t>
            </a:r>
            <a:br>
              <a:rPr lang="en-US" sz="2000" dirty="0"/>
            </a:br>
            <a:r>
              <a:rPr lang="en-US" sz="2000" dirty="0"/>
              <a:t>an optimal level, </a:t>
            </a:r>
            <a:br>
              <a:rPr lang="en-US" sz="2000" dirty="0"/>
            </a:br>
            <a:r>
              <a:rPr lang="en-US" sz="2000" dirty="0"/>
              <a:t>even if database is growing</a:t>
            </a:r>
          </a:p>
          <a:p>
            <a:pPr lvl="1"/>
            <a:r>
              <a:rPr lang="en-US" sz="1800" dirty="0"/>
              <a:t>One of the key features of </a:t>
            </a:r>
            <a:r>
              <a:rPr lang="en-US" sz="1800" dirty="0" err="1"/>
              <a:t>TimescaleDB</a:t>
            </a:r>
            <a:endParaRPr lang="en-US" sz="1800" dirty="0"/>
          </a:p>
          <a:p>
            <a:pPr lvl="1"/>
            <a:endParaRPr lang="en-US" sz="1800" dirty="0"/>
          </a:p>
          <a:p>
            <a:r>
              <a:rPr lang="en-US" sz="1800" dirty="0"/>
              <a:t>Partition borders must cover the time range of the IoT data stored in the database</a:t>
            </a:r>
            <a:br>
              <a:rPr lang="en-US" sz="1800" dirty="0"/>
            </a:br>
            <a:br>
              <a:rPr lang="en-US" sz="1800" dirty="0"/>
            </a:br>
            <a:br>
              <a:rPr lang="en-US" sz="1800" dirty="0"/>
            </a:br>
            <a:br>
              <a:rPr lang="en-US" sz="1800" dirty="0"/>
            </a:br>
            <a:br>
              <a:rPr lang="en-US" sz="1800" dirty="0"/>
            </a:br>
            <a:br>
              <a:rPr lang="en-US" sz="1800" dirty="0"/>
            </a:br>
            <a:endParaRPr lang="en-US" sz="1800" dirty="0"/>
          </a:p>
          <a:p>
            <a:r>
              <a:rPr lang="en-US" sz="1800" dirty="0"/>
              <a:t>To maintain the partition border in the future a daily job must be setup (e.g., Data Factory, Synapse Pipelines, Logic App, Data Job, Airflow, Elastic DB Jobs (preview) …) </a:t>
            </a:r>
          </a:p>
          <a:p>
            <a:pPr marL="0" indent="0">
              <a:buNone/>
            </a:pPr>
            <a:endParaRPr lang="en-CH" sz="18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D6A0DFA-8ADA-4CA8-BABF-0EE13F5C9D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57389" y="200843"/>
            <a:ext cx="3985398" cy="2542358"/>
          </a:xfrm>
          <a:prstGeom prst="rect">
            <a:avLst/>
          </a:prstGeom>
          <a:ln w="3175">
            <a:solidFill>
              <a:schemeClr val="tx1">
                <a:lumMod val="85000"/>
                <a:lumOff val="15000"/>
              </a:schemeClr>
            </a:solidFill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A6A7E63-AEE6-4FE6-A433-89F7FDAE401E}"/>
              </a:ext>
            </a:extLst>
          </p:cNvPr>
          <p:cNvSpPr txBox="1"/>
          <p:nvPr/>
        </p:nvSpPr>
        <p:spPr>
          <a:xfrm>
            <a:off x="7920640" y="14744"/>
            <a:ext cx="372570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hlinkClick r:id="rId3"/>
              </a:rPr>
              <a:t>Time-series data: Why to use a relational database instead of NoSQL (timescale.com)</a:t>
            </a:r>
            <a:endParaRPr lang="en-CH" sz="8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F95ABAE-75AB-4B0E-96DA-42D565BDBD32}"/>
              </a:ext>
            </a:extLst>
          </p:cNvPr>
          <p:cNvSpPr txBox="1"/>
          <p:nvPr/>
        </p:nvSpPr>
        <p:spPr>
          <a:xfrm>
            <a:off x="7466542" y="0"/>
            <a:ext cx="575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/>
              <a:t>Source:</a:t>
            </a:r>
            <a:endParaRPr lang="en-CH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64B949F-B9FC-4C04-A608-D47E10C5F9C5}"/>
              </a:ext>
            </a:extLst>
          </p:cNvPr>
          <p:cNvSpPr txBox="1"/>
          <p:nvPr/>
        </p:nvSpPr>
        <p:spPr>
          <a:xfrm>
            <a:off x="1172728" y="3722464"/>
            <a:ext cx="6115777" cy="122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CLARE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startDate </a:t>
            </a:r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CLARE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dayAheadNumber </a:t>
            </a:r>
            <a:r>
              <a:rPr lang="de-CH" sz="105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T</a:t>
            </a:r>
            <a:r>
              <a:rPr lang="en-US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startDate      </a:t>
            </a:r>
            <a:r>
              <a:rPr lang="en-US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5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DATE</a:t>
            </a:r>
            <a:r>
              <a:rPr lang="en-US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en-US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en-US" sz="105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If we get data starting "today"</a:t>
            </a:r>
            <a:endParaRPr lang="en-US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T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dayAheadNumber </a:t>
            </a:r>
            <a:r>
              <a:rPr lang="de-CH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35            </a:t>
            </a:r>
            <a:r>
              <a:rPr lang="de-CH" sz="105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Default </a:t>
            </a:r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fr-FR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UTE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Partition]</a:t>
            </a:r>
            <a:r>
              <a:rPr lang="fr-FR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fr-FR" sz="105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aintainPartitionBorders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fr-FR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startDate</a:t>
            </a:r>
            <a:r>
              <a:rPr lang="fr-FR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dayAheadNumber</a:t>
            </a:r>
            <a:endParaRPr lang="en-CH" sz="105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ED26276-6315-4A4C-83BD-4B225BD10CAA}"/>
              </a:ext>
            </a:extLst>
          </p:cNvPr>
          <p:cNvSpPr txBox="1"/>
          <p:nvPr/>
        </p:nvSpPr>
        <p:spPr>
          <a:xfrm>
            <a:off x="1172727" y="5836667"/>
            <a:ext cx="6115777" cy="2539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fr-FR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UTE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Partition]</a:t>
            </a:r>
            <a:r>
              <a:rPr lang="fr-FR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fr-FR" sz="105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aintainPartitionBorders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05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9B414735-42A2-4F6E-9735-ABC1C29CCAFB}"/>
              </a:ext>
            </a:extLst>
          </p:cNvPr>
          <p:cNvSpPr/>
          <p:nvPr/>
        </p:nvSpPr>
        <p:spPr>
          <a:xfrm>
            <a:off x="370219" y="827976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  <a:endParaRPr lang="en-CH" dirty="0"/>
          </a:p>
        </p:txBody>
      </p:sp>
      <p:sp>
        <p:nvSpPr>
          <p:cNvPr id="13" name="Arrow: Left 12">
            <a:extLst>
              <a:ext uri="{FF2B5EF4-FFF2-40B4-BE49-F238E27FC236}">
                <a16:creationId xmlns:a16="http://schemas.microsoft.com/office/drawing/2014/main" id="{339F70C2-5DF9-4733-96D7-C6E1D1D2D35A}"/>
              </a:ext>
            </a:extLst>
          </p:cNvPr>
          <p:cNvSpPr/>
          <p:nvPr/>
        </p:nvSpPr>
        <p:spPr>
          <a:xfrm>
            <a:off x="11188783" y="963700"/>
            <a:ext cx="970439" cy="710602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Goal</a:t>
            </a:r>
            <a:endParaRPr lang="en-CH" dirty="0"/>
          </a:p>
        </p:txBody>
      </p:sp>
      <p:pic>
        <p:nvPicPr>
          <p:cNvPr id="1026" name="Picture 2" descr="Freiwillige Feuerwehr Radfeld: Information zur Friedenslichtaktion und der  Haus- sowie Betriebssammlung">
            <a:extLst>
              <a:ext uri="{FF2B5EF4-FFF2-40B4-BE49-F238E27FC236}">
                <a16:creationId xmlns:a16="http://schemas.microsoft.com/office/drawing/2014/main" id="{C01609F9-9A9E-4FAE-951A-7550E2285B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1" y="5327713"/>
            <a:ext cx="477838" cy="477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Meeting schedule icon Royalty Free Vector Image">
            <a:extLst>
              <a:ext uri="{FF2B5EF4-FFF2-40B4-BE49-F238E27FC236}">
                <a16:creationId xmlns:a16="http://schemas.microsoft.com/office/drawing/2014/main" id="{D0927E0A-D2F6-4BF1-99D7-29E253E7B26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53" t="17878" r="18725" b="26218"/>
          <a:stretch/>
        </p:blipFill>
        <p:spPr bwMode="auto">
          <a:xfrm>
            <a:off x="370219" y="5318648"/>
            <a:ext cx="507479" cy="477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BDF636A-175F-458D-9BBB-12DF4C3975DA}"/>
              </a:ext>
            </a:extLst>
          </p:cNvPr>
          <p:cNvSpPr txBox="1"/>
          <p:nvPr/>
        </p:nvSpPr>
        <p:spPr>
          <a:xfrm>
            <a:off x="171747" y="5814616"/>
            <a:ext cx="7425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/>
              <a:t>Schedule </a:t>
            </a:r>
            <a:br>
              <a:rPr lang="en-US" sz="1000" dirty="0"/>
            </a:br>
            <a:r>
              <a:rPr lang="en-US" sz="1000" dirty="0"/>
              <a:t>once a day</a:t>
            </a:r>
            <a:endParaRPr lang="en-CH" sz="1000" dirty="0"/>
          </a:p>
        </p:txBody>
      </p:sp>
    </p:spTree>
    <p:extLst>
      <p:ext uri="{BB962C8B-B14F-4D97-AF65-F5344CB8AC3E}">
        <p14:creationId xmlns:p14="http://schemas.microsoft.com/office/powerpoint/2010/main" val="17661599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BAAC6B-E568-4B46-A63C-35647535E1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just DB to your project - 2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5F7925-CF44-4A6E-994B-71B70500D0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25625"/>
            <a:ext cx="10766070" cy="4351338"/>
          </a:xfrm>
        </p:spPr>
        <p:txBody>
          <a:bodyPr>
            <a:normAutofit/>
          </a:bodyPr>
          <a:lstStyle/>
          <a:p>
            <a:r>
              <a:rPr lang="en-US" sz="1800" dirty="0"/>
              <a:t>Add “Stream Analytics” users to the database</a:t>
            </a:r>
          </a:p>
          <a:p>
            <a:pPr lvl="1"/>
            <a:r>
              <a:rPr lang="en-US" sz="1400" dirty="0"/>
              <a:t>Write process supports the usage of ‘managed identities’ </a:t>
            </a:r>
            <a:br>
              <a:rPr lang="en-US" sz="1400" dirty="0"/>
            </a:br>
            <a:br>
              <a:rPr lang="en-US" sz="1400" dirty="0"/>
            </a:br>
            <a:br>
              <a:rPr lang="en-US" sz="1400" dirty="0"/>
            </a:br>
            <a:br>
              <a:rPr lang="en-US" sz="1400" dirty="0"/>
            </a:br>
            <a:br>
              <a:rPr lang="en-US" sz="1400" dirty="0"/>
            </a:br>
            <a:br>
              <a:rPr lang="en-US" sz="1400" dirty="0"/>
            </a:br>
            <a:endParaRPr lang="en-US" sz="1400" dirty="0"/>
          </a:p>
          <a:p>
            <a:pPr lvl="1"/>
            <a:r>
              <a:rPr lang="en-US" sz="1400" dirty="0"/>
              <a:t>Reading ‘Reference Data’ does not fully support managed identities</a:t>
            </a:r>
            <a:endParaRPr lang="en-CH" sz="14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F10BA28-06FD-43CC-8F06-270A61381A09}"/>
              </a:ext>
            </a:extLst>
          </p:cNvPr>
          <p:cNvSpPr txBox="1"/>
          <p:nvPr/>
        </p:nvSpPr>
        <p:spPr>
          <a:xfrm>
            <a:off x="1202371" y="3910257"/>
            <a:ext cx="10709983" cy="20313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de-CH" sz="14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In </a:t>
            </a:r>
            <a:r>
              <a:rPr lang="de-CH" sz="14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aster</a:t>
            </a:r>
            <a:r>
              <a:rPr lang="de-CH" sz="14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abase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IN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A_MetaDataReade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SSWORD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&lt;</a:t>
            </a:r>
            <a:r>
              <a:rPr lang="de-CH" sz="14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your</a:t>
            </a:r>
            <a:r>
              <a:rPr lang="de-CH" sz="14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trong </a:t>
            </a:r>
            <a:r>
              <a:rPr lang="de-CH" sz="14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ssword</a:t>
            </a:r>
            <a:r>
              <a:rPr lang="de-CH" sz="14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8fdKJl3$nlNv3049jsKK&gt;'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endParaRPr lang="en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4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In </a:t>
            </a:r>
            <a:r>
              <a:rPr lang="de-CH" sz="14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your</a:t>
            </a:r>
            <a:r>
              <a:rPr lang="de-CH" sz="14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oT </a:t>
            </a:r>
            <a:r>
              <a:rPr lang="de-CH" sz="14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abase</a:t>
            </a:r>
            <a:r>
              <a:rPr lang="de-CH" sz="14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-&gt; Reading </a:t>
            </a:r>
            <a:r>
              <a:rPr lang="de-CH" sz="14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ta</a:t>
            </a:r>
            <a:r>
              <a:rPr lang="de-CH" sz="14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ata </a:t>
            </a:r>
            <a:r>
              <a:rPr lang="de-CH" sz="14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es</a:t>
            </a:r>
            <a:r>
              <a:rPr lang="de-CH" sz="14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not support </a:t>
            </a:r>
            <a:r>
              <a:rPr lang="de-CH" sz="14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anaged</a:t>
            </a:r>
            <a:r>
              <a:rPr lang="de-CH" sz="14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dentity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A_MetaDataReade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IN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A_MetaDataReade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AN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ELEC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BJECT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.[Signal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A_MetaDataReade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4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For test of ASA Job in Visual Studio -&gt; It does not support Managed Identity</a:t>
            </a: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AN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CHEMA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A_MetaDataReade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en-CH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4" name="Picture 2" descr="A picture containing chart&#10;&#10;Description automatically generated">
            <a:extLst>
              <a:ext uri="{FF2B5EF4-FFF2-40B4-BE49-F238E27FC236}">
                <a16:creationId xmlns:a16="http://schemas.microsoft.com/office/drawing/2014/main" id="{4ED5F95C-9984-41D8-818C-13033A5EA50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451"/>
          <a:stretch/>
        </p:blipFill>
        <p:spPr bwMode="auto">
          <a:xfrm>
            <a:off x="9525342" y="148919"/>
            <a:ext cx="2387012" cy="21063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1F703877-6D10-4405-ABC9-D18A326C1E85}"/>
              </a:ext>
            </a:extLst>
          </p:cNvPr>
          <p:cNvSpPr/>
          <p:nvPr/>
        </p:nvSpPr>
        <p:spPr>
          <a:xfrm>
            <a:off x="527405" y="2531060"/>
            <a:ext cx="341699" cy="287848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  <a:endParaRPr lang="en-CH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4565A9D-009F-4A59-B982-7D2BB5F921F2}"/>
              </a:ext>
            </a:extLst>
          </p:cNvPr>
          <p:cNvSpPr/>
          <p:nvPr/>
        </p:nvSpPr>
        <p:spPr>
          <a:xfrm>
            <a:off x="527405" y="3524342"/>
            <a:ext cx="341699" cy="287848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  <a:endParaRPr lang="en-CH"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707D8C9-B002-423F-A882-D700752B3282}"/>
              </a:ext>
            </a:extLst>
          </p:cNvPr>
          <p:cNvSpPr/>
          <p:nvPr/>
        </p:nvSpPr>
        <p:spPr>
          <a:xfrm>
            <a:off x="10516107" y="481169"/>
            <a:ext cx="341699" cy="287848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  <a:endParaRPr lang="en-CH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F364519E-0AEA-4AEE-B140-F44320738E9A}"/>
              </a:ext>
            </a:extLst>
          </p:cNvPr>
          <p:cNvSpPr/>
          <p:nvPr/>
        </p:nvSpPr>
        <p:spPr>
          <a:xfrm>
            <a:off x="9354492" y="1402840"/>
            <a:ext cx="341699" cy="287848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  <a:endParaRPr lang="en-CH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BD73A73-3664-4074-8FAA-DD0DF4DAD0F7}"/>
              </a:ext>
            </a:extLst>
          </p:cNvPr>
          <p:cNvSpPr txBox="1"/>
          <p:nvPr/>
        </p:nvSpPr>
        <p:spPr>
          <a:xfrm>
            <a:off x="1179898" y="2463591"/>
            <a:ext cx="6521337" cy="5232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&lt;ASA_JOB_NAME&gt;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TERNAL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OVIDER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AN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CHEMA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&lt;ASA_JOB_NAME&gt;]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D02F91D9-13DA-4C55-9C04-EFF5FAFF7CAF}"/>
              </a:ext>
            </a:extLst>
          </p:cNvPr>
          <p:cNvSpPr/>
          <p:nvPr/>
        </p:nvSpPr>
        <p:spPr>
          <a:xfrm>
            <a:off x="370219" y="827976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8869144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E370DD-8DB4-4F4E-BFD5-B501FB65A5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86874"/>
            <a:ext cx="7821947" cy="4590089"/>
          </a:xfrm>
        </p:spPr>
        <p:txBody>
          <a:bodyPr/>
          <a:lstStyle/>
          <a:p>
            <a:r>
              <a:rPr lang="en-US" dirty="0"/>
              <a:t>Add device to your IoT Hub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  <a:p>
            <a:r>
              <a:rPr lang="en-US" dirty="0"/>
              <a:t>Define the connection string to your IoT hub</a:t>
            </a:r>
            <a:br>
              <a:rPr lang="en-US" dirty="0"/>
            </a:br>
            <a:r>
              <a:rPr lang="en-US" dirty="0"/>
              <a:t>using ‘Manage User Secrets’</a:t>
            </a:r>
          </a:p>
          <a:p>
            <a:pPr lvl="1"/>
            <a:r>
              <a:rPr lang="en-US" dirty="0"/>
              <a:t>Template exits in the project folder</a:t>
            </a:r>
            <a:endParaRPr lang="en-CH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CFE9687-9F2A-4654-A065-5B53B8F5E5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73761" y="2117098"/>
            <a:ext cx="2862283" cy="1318309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39837CD-3390-42F2-A961-DA0E5CD3E1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6697" y="2117098"/>
            <a:ext cx="2058561" cy="132556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CB009A9-1B46-402C-89B2-F807FEFCA5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70871" y="2117098"/>
            <a:ext cx="1706359" cy="1318308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2E0A3EC-A8A7-412B-B1E5-0AF4C4D3C5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Add Device &amp; </a:t>
            </a:r>
            <a:r>
              <a:rPr lang="de-CH" dirty="0" err="1"/>
              <a:t>Configure</a:t>
            </a:r>
            <a:r>
              <a:rPr lang="de-CH" dirty="0"/>
              <a:t> C# </a:t>
            </a:r>
            <a:r>
              <a:rPr lang="de-CH" dirty="0" err="1"/>
              <a:t>Application</a:t>
            </a:r>
            <a:r>
              <a:rPr lang="de-CH" dirty="0"/>
              <a:t> </a:t>
            </a:r>
            <a:endParaRPr lang="en-CH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23399889-145E-4F6F-A1AD-90EF3BD39A76}"/>
              </a:ext>
            </a:extLst>
          </p:cNvPr>
          <p:cNvSpPr/>
          <p:nvPr/>
        </p:nvSpPr>
        <p:spPr>
          <a:xfrm>
            <a:off x="405851" y="883982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  <a:endParaRPr lang="en-CH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B8BD81D-09C7-46F6-8DA4-5B5E0528B97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65782" y="4274695"/>
            <a:ext cx="2086585" cy="1998992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F8FA83A-CD79-4A87-87D4-DBB4A1FD4AE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10419" y="4951918"/>
            <a:ext cx="2122474" cy="1015662"/>
          </a:xfrm>
          <a:prstGeom prst="rect">
            <a:avLst/>
          </a:prstGeom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B4138BB4-F301-4523-9B27-65442CB82C13}"/>
              </a:ext>
            </a:extLst>
          </p:cNvPr>
          <p:cNvSpPr txBox="1"/>
          <p:nvPr/>
        </p:nvSpPr>
        <p:spPr>
          <a:xfrm>
            <a:off x="3703895" y="4956018"/>
            <a:ext cx="5949064" cy="101566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txBody>
          <a:bodyPr wrap="none" rtlCol="0">
            <a:spAutoFit/>
          </a:bodyPr>
          <a:lstStyle/>
          <a:p>
            <a:r>
              <a:rPr lang="en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r>
              <a:rPr lang="de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"</a:t>
            </a:r>
            <a:r>
              <a:rPr lang="de-CH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HostName</a:t>
            </a:r>
            <a:r>
              <a:rPr lang="de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": "&lt;</a:t>
            </a:r>
            <a:r>
              <a:rPr lang="de-CH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yourIoTHubName</a:t>
            </a:r>
            <a:r>
              <a:rPr lang="de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&gt;  e.g. xxxx.azure-devices.net",</a:t>
            </a:r>
          </a:p>
          <a:p>
            <a:r>
              <a:rPr lang="de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"</a:t>
            </a:r>
            <a:r>
              <a:rPr lang="de-CH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eviceId</a:t>
            </a:r>
            <a:r>
              <a:rPr lang="de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": "&lt;</a:t>
            </a:r>
            <a:r>
              <a:rPr lang="de-CH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yourIoTDeviceId</a:t>
            </a:r>
            <a:r>
              <a:rPr lang="de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&gt;",</a:t>
            </a:r>
          </a:p>
          <a:p>
            <a:r>
              <a:rPr lang="de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"</a:t>
            </a:r>
            <a:r>
              <a:rPr lang="de-CH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haredAccessKey</a:t>
            </a:r>
            <a:r>
              <a:rPr lang="de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": "&lt;</a:t>
            </a:r>
            <a:r>
              <a:rPr lang="de-CH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yourShareAccessKey</a:t>
            </a:r>
            <a:r>
              <a:rPr lang="de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&gt;"</a:t>
            </a:r>
          </a:p>
          <a:p>
            <a:r>
              <a:rPr lang="en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en-CH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152956B-6650-4CE0-84E2-9D3B8A4A2B5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1889" y="2117098"/>
            <a:ext cx="1071805" cy="1332514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6EEFB690-888A-4019-8E44-9C7A8D9A5644}"/>
              </a:ext>
            </a:extLst>
          </p:cNvPr>
          <p:cNvCxnSpPr/>
          <p:nvPr/>
        </p:nvCxnSpPr>
        <p:spPr>
          <a:xfrm>
            <a:off x="3162700" y="2267548"/>
            <a:ext cx="925447" cy="10015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E3848C8C-4B47-4A3D-A757-651198606570}"/>
              </a:ext>
            </a:extLst>
          </p:cNvPr>
          <p:cNvCxnSpPr>
            <a:cxnSpLocks/>
          </p:cNvCxnSpPr>
          <p:nvPr/>
        </p:nvCxnSpPr>
        <p:spPr>
          <a:xfrm>
            <a:off x="5888244" y="3292540"/>
            <a:ext cx="52550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2CFB5E94-252A-4758-B5C3-0D2B58B57DAA}"/>
              </a:ext>
            </a:extLst>
          </p:cNvPr>
          <p:cNvCxnSpPr>
            <a:cxnSpLocks/>
          </p:cNvCxnSpPr>
          <p:nvPr/>
        </p:nvCxnSpPr>
        <p:spPr>
          <a:xfrm flipH="1">
            <a:off x="7622735" y="3292540"/>
            <a:ext cx="846249" cy="218565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94642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27EA2F-EB06-431B-BF58-110C2A084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Define and Deploy Stream Analytics Job</a:t>
            </a:r>
            <a:endParaRPr lang="en-CH" dirty="0"/>
          </a:p>
        </p:txBody>
      </p:sp>
      <p:pic>
        <p:nvPicPr>
          <p:cNvPr id="5" name="Picture 2" descr="A picture containing chart&#10;&#10;Description automatically generated">
            <a:extLst>
              <a:ext uri="{FF2B5EF4-FFF2-40B4-BE49-F238E27FC236}">
                <a16:creationId xmlns:a16="http://schemas.microsoft.com/office/drawing/2014/main" id="{52DD289A-AB4C-46D3-A7F3-4E954ADAD43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626"/>
          <a:stretch/>
        </p:blipFill>
        <p:spPr bwMode="auto">
          <a:xfrm>
            <a:off x="3669900" y="2801910"/>
            <a:ext cx="3498235" cy="21063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ABE2E46-AB7D-4C97-9F1E-9B9B70C2A22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57"/>
          <a:stretch/>
        </p:blipFill>
        <p:spPr>
          <a:xfrm>
            <a:off x="7077374" y="2138782"/>
            <a:ext cx="2071023" cy="294167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E86CB09-9FCC-42FE-B9DF-60EB670D62A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29241" y="1599632"/>
            <a:ext cx="2286017" cy="1328747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F3FB1A5-A6F1-4480-9F84-6A064493A792}"/>
              </a:ext>
            </a:extLst>
          </p:cNvPr>
          <p:cNvCxnSpPr>
            <a:cxnSpLocks/>
          </p:cNvCxnSpPr>
          <p:nvPr/>
        </p:nvCxnSpPr>
        <p:spPr>
          <a:xfrm flipH="1">
            <a:off x="4088147" y="2218343"/>
            <a:ext cx="922601" cy="10507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84247F7E-ABE2-4DF9-B218-A2223B18D24F}"/>
              </a:ext>
            </a:extLst>
          </p:cNvPr>
          <p:cNvCxnSpPr>
            <a:cxnSpLocks/>
          </p:cNvCxnSpPr>
          <p:nvPr/>
        </p:nvCxnSpPr>
        <p:spPr>
          <a:xfrm>
            <a:off x="5610838" y="2138782"/>
            <a:ext cx="41004" cy="24209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6CE570D3-3A43-4D93-8564-6BE200E5A6CC}"/>
              </a:ext>
            </a:extLst>
          </p:cNvPr>
          <p:cNvCxnSpPr>
            <a:cxnSpLocks/>
          </p:cNvCxnSpPr>
          <p:nvPr/>
        </p:nvCxnSpPr>
        <p:spPr>
          <a:xfrm>
            <a:off x="5901885" y="2443867"/>
            <a:ext cx="1440720" cy="6047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71E7D083-F1C7-40E9-8E78-317677BFC0AE}"/>
              </a:ext>
            </a:extLst>
          </p:cNvPr>
          <p:cNvCxnSpPr>
            <a:cxnSpLocks/>
          </p:cNvCxnSpPr>
          <p:nvPr/>
        </p:nvCxnSpPr>
        <p:spPr>
          <a:xfrm>
            <a:off x="5901885" y="2570981"/>
            <a:ext cx="1440720" cy="95518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41F0AE20-3A21-4417-8606-4861D88E1060}"/>
              </a:ext>
            </a:extLst>
          </p:cNvPr>
          <p:cNvCxnSpPr>
            <a:cxnSpLocks/>
          </p:cNvCxnSpPr>
          <p:nvPr/>
        </p:nvCxnSpPr>
        <p:spPr>
          <a:xfrm>
            <a:off x="5750169" y="2650192"/>
            <a:ext cx="1524027" cy="17413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Picture 33">
            <a:extLst>
              <a:ext uri="{FF2B5EF4-FFF2-40B4-BE49-F238E27FC236}">
                <a16:creationId xmlns:a16="http://schemas.microsoft.com/office/drawing/2014/main" id="{7FB8CE8F-BFB7-4F8E-B558-86524C81F5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1081" y="2107012"/>
            <a:ext cx="2686573" cy="2324198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7B8BA57F-E767-4948-9651-D1FD1D07C18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76389" y="4992945"/>
            <a:ext cx="3019611" cy="1513285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249D202B-1F57-4A32-9848-1535EA018BCE}"/>
              </a:ext>
            </a:extLst>
          </p:cNvPr>
          <p:cNvSpPr txBox="1"/>
          <p:nvPr/>
        </p:nvSpPr>
        <p:spPr>
          <a:xfrm>
            <a:off x="6196803" y="5545346"/>
            <a:ext cx="3127617" cy="4616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8F3F29D7-1826-4F6A-A086-852087F4BE0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01789" y="2568684"/>
            <a:ext cx="2893013" cy="2044124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43" name="Oval 42">
            <a:extLst>
              <a:ext uri="{FF2B5EF4-FFF2-40B4-BE49-F238E27FC236}">
                <a16:creationId xmlns:a16="http://schemas.microsoft.com/office/drawing/2014/main" id="{A8AE8246-6075-4566-919F-9AF443185A62}"/>
              </a:ext>
            </a:extLst>
          </p:cNvPr>
          <p:cNvSpPr/>
          <p:nvPr/>
        </p:nvSpPr>
        <p:spPr>
          <a:xfrm>
            <a:off x="386253" y="830114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  <a:endParaRPr lang="en-CH" dirty="0"/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id="{73C712F0-2C23-412F-A2C1-E75661110924}"/>
              </a:ext>
            </a:extLst>
          </p:cNvPr>
          <p:cNvSpPr/>
          <p:nvPr/>
        </p:nvSpPr>
        <p:spPr>
          <a:xfrm>
            <a:off x="2427465" y="5191168"/>
            <a:ext cx="787287" cy="354178"/>
          </a:xfrm>
          <a:prstGeom prst="rightArrow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endParaRPr lang="en-CH" sz="120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0E159FD-05B9-4EC4-9933-9D567282D8D7}"/>
              </a:ext>
            </a:extLst>
          </p:cNvPr>
          <p:cNvGrpSpPr/>
          <p:nvPr/>
        </p:nvGrpSpPr>
        <p:grpSpPr>
          <a:xfrm>
            <a:off x="8233701" y="1515118"/>
            <a:ext cx="2749454" cy="736028"/>
            <a:chOff x="8233701" y="1515118"/>
            <a:chExt cx="2749454" cy="736028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A07522A1-9C17-4F0F-9381-77607CED31F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263092" y="1775150"/>
              <a:ext cx="2643207" cy="395290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BECAA60F-475E-47D9-BF16-70DA6DD2F440}"/>
                </a:ext>
              </a:extLst>
            </p:cNvPr>
            <p:cNvSpPr txBox="1"/>
            <p:nvPr/>
          </p:nvSpPr>
          <p:spPr>
            <a:xfrm>
              <a:off x="8233701" y="1515118"/>
              <a:ext cx="211525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Grant access to Azure Services </a:t>
              </a:r>
              <a:endParaRPr lang="en-CH" sz="1200" dirty="0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0B0E6E0-1C0C-42D1-88DF-7E32D182DFCB}"/>
                </a:ext>
              </a:extLst>
            </p:cNvPr>
            <p:cNvSpPr/>
            <p:nvPr/>
          </p:nvSpPr>
          <p:spPr>
            <a:xfrm>
              <a:off x="8263092" y="1515118"/>
              <a:ext cx="2720063" cy="736028"/>
            </a:xfrm>
            <a:prstGeom prst="rect">
              <a:avLst/>
            </a:prstGeom>
            <a:noFill/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/>
            </a:p>
          </p:txBody>
        </p:sp>
      </p:grpSp>
    </p:spTree>
    <p:extLst>
      <p:ext uri="{BB962C8B-B14F-4D97-AF65-F5344CB8AC3E}">
        <p14:creationId xmlns:p14="http://schemas.microsoft.com/office/powerpoint/2010/main" val="8403643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3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27EA2F-EB06-431B-BF58-110C2A084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Define and Deploy Stream Analytics Job - 2</a:t>
            </a:r>
            <a:endParaRPr lang="en-CH" sz="40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E86CB09-9FCC-42FE-B9DF-60EB670D62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7738" y="94767"/>
            <a:ext cx="2037976" cy="118457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43" name="Oval 42">
            <a:extLst>
              <a:ext uri="{FF2B5EF4-FFF2-40B4-BE49-F238E27FC236}">
                <a16:creationId xmlns:a16="http://schemas.microsoft.com/office/drawing/2014/main" id="{A8AE8246-6075-4566-919F-9AF443185A62}"/>
              </a:ext>
            </a:extLst>
          </p:cNvPr>
          <p:cNvSpPr/>
          <p:nvPr/>
        </p:nvSpPr>
        <p:spPr>
          <a:xfrm>
            <a:off x="386253" y="830114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  <a:endParaRPr lang="en-CH" dirty="0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5D24B922-469A-4473-8B7A-8A84D4B43DE7}"/>
              </a:ext>
            </a:extLst>
          </p:cNvPr>
          <p:cNvSpPr/>
          <p:nvPr/>
        </p:nvSpPr>
        <p:spPr>
          <a:xfrm>
            <a:off x="10057738" y="1117962"/>
            <a:ext cx="775647" cy="19008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DBC57C0-1E41-4993-96C3-F1222F4CFAAF}"/>
              </a:ext>
            </a:extLst>
          </p:cNvPr>
          <p:cNvSpPr txBox="1"/>
          <p:nvPr/>
        </p:nvSpPr>
        <p:spPr>
          <a:xfrm>
            <a:off x="975902" y="1424159"/>
            <a:ext cx="9045589" cy="501675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WithSignalNa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b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 </a:t>
            </a:r>
            <a:r>
              <a:rPr lang="en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sz="1000" b="1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Y_CAS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Timestamp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              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Ts]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Hub.ConnectionDeviceId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viceId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Label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and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</a:t>
            </a:r>
            <a:r>
              <a:rPr lang="en-US" sz="1000" b="1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CA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Hub.ConnectionDeviceI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rgbClr val="A3151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_'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Label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</a:t>
            </a:r>
            <a:r>
              <a:rPr lang="en-US" sz="1000" b="1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Y_CAS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[Value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LOA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                        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N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EN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[Text]) &gt; 0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Text]   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LSE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0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Timestamp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T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[Value]                  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asurementValue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[Text]                   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asurementTex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endParaRPr lang="en-CH" sz="10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ssage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,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With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b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vice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an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eSignal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ssag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WithSignalNa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EF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ER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eSignal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=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eSigna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" name="Right Brace 5">
            <a:extLst>
              <a:ext uri="{FF2B5EF4-FFF2-40B4-BE49-F238E27FC236}">
                <a16:creationId xmlns:a16="http://schemas.microsoft.com/office/drawing/2014/main" id="{366E5C49-1A4C-41A8-81AA-EC1A463D75A7}"/>
              </a:ext>
            </a:extLst>
          </p:cNvPr>
          <p:cNvSpPr/>
          <p:nvPr/>
        </p:nvSpPr>
        <p:spPr>
          <a:xfrm>
            <a:off x="7721143" y="1690688"/>
            <a:ext cx="405944" cy="215963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8" name="Callout: Bent Line 7">
            <a:extLst>
              <a:ext uri="{FF2B5EF4-FFF2-40B4-BE49-F238E27FC236}">
                <a16:creationId xmlns:a16="http://schemas.microsoft.com/office/drawing/2014/main" id="{390444C8-536F-4005-AE96-DD9946DBB467}"/>
              </a:ext>
            </a:extLst>
          </p:cNvPr>
          <p:cNvSpPr/>
          <p:nvPr/>
        </p:nvSpPr>
        <p:spPr>
          <a:xfrm>
            <a:off x="9281604" y="3634489"/>
            <a:ext cx="2501273" cy="84879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97645"/>
              <a:gd name="adj6" fmla="val -4486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Code depends on incoming message structure</a:t>
            </a:r>
            <a:endParaRPr lang="en-CH" dirty="0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0" name="Right Brace 9">
            <a:extLst>
              <a:ext uri="{FF2B5EF4-FFF2-40B4-BE49-F238E27FC236}">
                <a16:creationId xmlns:a16="http://schemas.microsoft.com/office/drawing/2014/main" id="{02D05FA7-D259-47DD-90BC-348725027A46}"/>
              </a:ext>
            </a:extLst>
          </p:cNvPr>
          <p:cNvSpPr/>
          <p:nvPr/>
        </p:nvSpPr>
        <p:spPr>
          <a:xfrm>
            <a:off x="6335876" y="4116850"/>
            <a:ext cx="405944" cy="226754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12" name="Callout: Bent Line 11">
            <a:extLst>
              <a:ext uri="{FF2B5EF4-FFF2-40B4-BE49-F238E27FC236}">
                <a16:creationId xmlns:a16="http://schemas.microsoft.com/office/drawing/2014/main" id="{7CE9B8FD-B277-41DD-ADEE-16633E030CC8}"/>
              </a:ext>
            </a:extLst>
          </p:cNvPr>
          <p:cNvSpPr/>
          <p:nvPr/>
        </p:nvSpPr>
        <p:spPr>
          <a:xfrm>
            <a:off x="7857143" y="4870028"/>
            <a:ext cx="2611302" cy="1215037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29891"/>
              <a:gd name="adj6" fmla="val -40929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“Generic” Code,</a:t>
            </a:r>
            <a:br>
              <a:rPr lang="en-US" dirty="0"/>
            </a:br>
            <a:r>
              <a:rPr lang="en-US" dirty="0"/>
              <a:t>try to resolve </a:t>
            </a:r>
            <a:r>
              <a:rPr lang="en-US" dirty="0" err="1"/>
              <a:t>SignalName</a:t>
            </a:r>
            <a:r>
              <a:rPr lang="en-US" dirty="0"/>
              <a:t> and provide </a:t>
            </a:r>
            <a:r>
              <a:rPr lang="en-US" dirty="0" err="1"/>
              <a:t>SignalId</a:t>
            </a:r>
            <a:r>
              <a:rPr lang="en-US" dirty="0"/>
              <a:t> </a:t>
            </a:r>
            <a:endParaRPr lang="en-CH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A22C060-1900-491B-A014-86DA40341137}"/>
              </a:ext>
            </a:extLst>
          </p:cNvPr>
          <p:cNvSpPr txBox="1"/>
          <p:nvPr/>
        </p:nvSpPr>
        <p:spPr>
          <a:xfrm>
            <a:off x="8394942" y="1549698"/>
            <a:ext cx="3700052" cy="1061829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txBody>
          <a:bodyPr wrap="none" rtlCol="0">
            <a:spAutoFit/>
          </a:bodyPr>
          <a:lstStyle/>
          <a:p>
            <a:r>
              <a:rPr lang="de-CH" sz="900" b="1" u="sng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vice Message</a:t>
            </a:r>
          </a:p>
          <a:p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  "</a:t>
            </a:r>
            <a:r>
              <a:rPr lang="de-CH" sz="900" b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ventTimestamp</a:t>
            </a:r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: "2021-12-08T13:45:37.5349406Z",</a:t>
            </a:r>
          </a:p>
          <a:p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  "</a:t>
            </a:r>
            <a:r>
              <a:rPr lang="de-CH" sz="900" b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ignalLabel</a:t>
            </a:r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:    "</a:t>
            </a:r>
            <a:r>
              <a:rPr lang="de-CH" sz="900" b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umidity</a:t>
            </a:r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,</a:t>
            </a:r>
          </a:p>
          <a:p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  "Value":          "67.26993883367159",</a:t>
            </a:r>
          </a:p>
          <a:p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  "Text":           ""</a:t>
            </a:r>
          </a:p>
          <a:p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732CC73-28C5-4728-A876-017F718AF410}"/>
              </a:ext>
            </a:extLst>
          </p:cNvPr>
          <p:cNvSpPr txBox="1"/>
          <p:nvPr/>
        </p:nvSpPr>
        <p:spPr>
          <a:xfrm>
            <a:off x="8164499" y="1350918"/>
            <a:ext cx="3930496" cy="218521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sz="900" b="1" u="sng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ssage from IoT Hub</a:t>
            </a:r>
          </a:p>
          <a:p>
            <a:r>
              <a:rPr lang="en-CH" sz="8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endParaRPr lang="en-CH" sz="8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Timestamp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</a:t>
            </a:r>
            <a:r>
              <a:rPr lang="de-CH" sz="800" dirty="0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2021-12-08T14:01:14.5094082Z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Label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</a:t>
            </a:r>
            <a:r>
              <a:rPr lang="de-CH" sz="800" dirty="0" err="1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emperatur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u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</a:t>
            </a:r>
            <a:r>
              <a:rPr lang="de-CH" sz="800" dirty="0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12.34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ext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</a:t>
            </a:r>
            <a:r>
              <a:rPr lang="de-CH" sz="800" dirty="0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"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ProcessedUtcTim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2021-12-08T14:01:14.5771421Z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ition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1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EnqueuedUtcTim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2021-12-08T14:01:15.0040000Z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Hub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{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ssage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null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relation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null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nectionDevice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</a:t>
            </a:r>
            <a:r>
              <a:rPr lang="de-CH" sz="800" dirty="0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mewTsSmartStartHubDevice001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nectionDeviceGeneration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637740536776612383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queuedTim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2021-12-08T14:01:15.0050000Z"</a:t>
            </a:r>
          </a:p>
          <a:p>
            <a:r>
              <a:rPr lang="en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}</a:t>
            </a:r>
          </a:p>
          <a:p>
            <a:r>
              <a:rPr lang="en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de-CH" sz="8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3765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27EA2F-EB06-431B-BF58-110C2A084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Define and Deploy Stream Analytics Job - 3</a:t>
            </a:r>
            <a:endParaRPr lang="en-CH" sz="400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F2D103B-97C5-4A1D-81AB-AE9CC22FD4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CH" sz="2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2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WrongMessageFormatOrDataType</a:t>
            </a:r>
            <a:r>
              <a:rPr lang="de-CH" sz="2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24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E86CB09-9FCC-42FE-B9DF-60EB670D62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7738" y="94767"/>
            <a:ext cx="2037976" cy="118457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43" name="Oval 42">
            <a:extLst>
              <a:ext uri="{FF2B5EF4-FFF2-40B4-BE49-F238E27FC236}">
                <a16:creationId xmlns:a16="http://schemas.microsoft.com/office/drawing/2014/main" id="{A8AE8246-6075-4566-919F-9AF443185A62}"/>
              </a:ext>
            </a:extLst>
          </p:cNvPr>
          <p:cNvSpPr/>
          <p:nvPr/>
        </p:nvSpPr>
        <p:spPr>
          <a:xfrm>
            <a:off x="386253" y="830114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  <a:endParaRPr lang="en-CH" dirty="0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5D24B922-469A-4473-8B7A-8A84D4B43DE7}"/>
              </a:ext>
            </a:extLst>
          </p:cNvPr>
          <p:cNvSpPr/>
          <p:nvPr/>
        </p:nvSpPr>
        <p:spPr>
          <a:xfrm>
            <a:off x="10057738" y="1117962"/>
            <a:ext cx="775647" cy="19008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DBC57C0-1E41-4993-96C3-F1222F4CFAAF}"/>
              </a:ext>
            </a:extLst>
          </p:cNvPr>
          <p:cNvSpPr txBox="1"/>
          <p:nvPr/>
        </p:nvSpPr>
        <p:spPr>
          <a:xfrm>
            <a:off x="962945" y="2334456"/>
            <a:ext cx="9045589" cy="30469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asurementValu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asurementTex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ss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WrongMessageFormatOrDataTyp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With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(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)</a:t>
            </a:r>
            <a:endParaRPr lang="en-CH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" name="Right Brace 5">
            <a:extLst>
              <a:ext uri="{FF2B5EF4-FFF2-40B4-BE49-F238E27FC236}">
                <a16:creationId xmlns:a16="http://schemas.microsoft.com/office/drawing/2014/main" id="{366E5C49-1A4C-41A8-81AA-EC1A463D75A7}"/>
              </a:ext>
            </a:extLst>
          </p:cNvPr>
          <p:cNvSpPr/>
          <p:nvPr/>
        </p:nvSpPr>
        <p:spPr>
          <a:xfrm>
            <a:off x="4351599" y="4392881"/>
            <a:ext cx="405944" cy="74907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8" name="Callout: Bent Line 7">
            <a:extLst>
              <a:ext uri="{FF2B5EF4-FFF2-40B4-BE49-F238E27FC236}">
                <a16:creationId xmlns:a16="http://schemas.microsoft.com/office/drawing/2014/main" id="{390444C8-536F-4005-AE96-DD9946DBB467}"/>
              </a:ext>
            </a:extLst>
          </p:cNvPr>
          <p:cNvSpPr/>
          <p:nvPr/>
        </p:nvSpPr>
        <p:spPr>
          <a:xfrm>
            <a:off x="6265488" y="4886449"/>
            <a:ext cx="2501273" cy="1174014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9990"/>
              <a:gd name="adj6" fmla="val -5683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“Generic Code”:</a:t>
            </a:r>
          </a:p>
          <a:p>
            <a:pPr algn="ctr"/>
            <a:r>
              <a:rPr lang="en-US" dirty="0"/>
              <a:t>No timestamp or no </a:t>
            </a:r>
            <a:r>
              <a:rPr lang="en-US" dirty="0" err="1"/>
              <a:t>SignalName</a:t>
            </a:r>
            <a:r>
              <a:rPr lang="en-US" dirty="0"/>
              <a:t> or no “Payload”</a:t>
            </a:r>
            <a:endParaRPr lang="en-CH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D14EAEF-39FC-4278-A314-8CB261F93DE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57"/>
          <a:stretch/>
        </p:blipFill>
        <p:spPr>
          <a:xfrm>
            <a:off x="9555783" y="1882102"/>
            <a:ext cx="2629003" cy="3734225"/>
          </a:xfrm>
          <a:prstGeom prst="rect">
            <a:avLst/>
          </a:prstGeom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7314AEC-0109-4EAB-B8AE-88218191DEFE}"/>
              </a:ext>
            </a:extLst>
          </p:cNvPr>
          <p:cNvCxnSpPr>
            <a:cxnSpLocks/>
          </p:cNvCxnSpPr>
          <p:nvPr/>
        </p:nvCxnSpPr>
        <p:spPr>
          <a:xfrm>
            <a:off x="5593012" y="4108649"/>
            <a:ext cx="4264466" cy="6929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46596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/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/>
              <a:t>Poor man’s digital twin </a:t>
            </a:r>
          </a:p>
          <a:p>
            <a:pPr lvl="1"/>
            <a:r>
              <a:rPr lang="en-US" dirty="0"/>
              <a:t>Restrict Data Access</a:t>
            </a:r>
          </a:p>
          <a:p>
            <a:pPr lvl="1"/>
            <a:r>
              <a:rPr lang="en-US" dirty="0"/>
              <a:t>Efficient Queries</a:t>
            </a:r>
          </a:p>
          <a:p>
            <a:pPr lvl="1"/>
            <a:r>
              <a:rPr lang="en-US" dirty="0"/>
              <a:t>Monitor activity/reset the database</a:t>
            </a:r>
          </a:p>
          <a:p>
            <a:r>
              <a:rPr lang="en-US" dirty="0"/>
              <a:t>Database Tiers</a:t>
            </a:r>
          </a:p>
          <a:p>
            <a:r>
              <a:rPr lang="en-US" dirty="0"/>
              <a:t>Conclusion and next Steps</a:t>
            </a:r>
          </a:p>
          <a:p>
            <a:pPr lvl="1"/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07345906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27EA2F-EB06-431B-BF58-110C2A084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Define and Deploy Stream Analytics Job - 4</a:t>
            </a:r>
            <a:endParaRPr lang="en-CH" sz="400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F2D103B-97C5-4A1D-81AB-AE9CC22FD4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CH" sz="2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2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WithSignalName</a:t>
            </a:r>
            <a:r>
              <a:rPr lang="de-CH" sz="2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24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E86CB09-9FCC-42FE-B9DF-60EB670D62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7738" y="94767"/>
            <a:ext cx="2037976" cy="118457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43" name="Oval 42">
            <a:extLst>
              <a:ext uri="{FF2B5EF4-FFF2-40B4-BE49-F238E27FC236}">
                <a16:creationId xmlns:a16="http://schemas.microsoft.com/office/drawing/2014/main" id="{A8AE8246-6075-4566-919F-9AF443185A62}"/>
              </a:ext>
            </a:extLst>
          </p:cNvPr>
          <p:cNvSpPr/>
          <p:nvPr/>
        </p:nvSpPr>
        <p:spPr>
          <a:xfrm>
            <a:off x="386253" y="830114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  <a:endParaRPr lang="en-CH" dirty="0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5D24B922-469A-4473-8B7A-8A84D4B43DE7}"/>
              </a:ext>
            </a:extLst>
          </p:cNvPr>
          <p:cNvSpPr/>
          <p:nvPr/>
        </p:nvSpPr>
        <p:spPr>
          <a:xfrm>
            <a:off x="10057738" y="1117962"/>
            <a:ext cx="775647" cy="19008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DBC57C0-1E41-4993-96C3-F1222F4CFAAF}"/>
              </a:ext>
            </a:extLst>
          </p:cNvPr>
          <p:cNvSpPr txBox="1"/>
          <p:nvPr/>
        </p:nvSpPr>
        <p:spPr>
          <a:xfrm>
            <a:off x="962945" y="2334456"/>
            <a:ext cx="9045589" cy="31085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[</a:t>
            </a:r>
            <a:r>
              <a:rPr lang="de-CH" sz="14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4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viceId</a:t>
            </a:r>
            <a:r>
              <a:rPr lang="de-CH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</a:p>
          <a:p>
            <a:r>
              <a:rPr lang="de-CH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4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and</a:t>
            </a:r>
            <a:r>
              <a:rPr lang="de-CH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WithSignalNam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</a:t>
            </a:r>
          </a:p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WithSignalId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Ts]        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(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)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" name="Right Brace 5">
            <a:extLst>
              <a:ext uri="{FF2B5EF4-FFF2-40B4-BE49-F238E27FC236}">
                <a16:creationId xmlns:a16="http://schemas.microsoft.com/office/drawing/2014/main" id="{366E5C49-1A4C-41A8-81AA-EC1A463D75A7}"/>
              </a:ext>
            </a:extLst>
          </p:cNvPr>
          <p:cNvSpPr/>
          <p:nvPr/>
        </p:nvSpPr>
        <p:spPr>
          <a:xfrm>
            <a:off x="5290595" y="4104549"/>
            <a:ext cx="405944" cy="121783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D14EAEF-39FC-4278-A314-8CB261F93DE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57"/>
          <a:stretch/>
        </p:blipFill>
        <p:spPr>
          <a:xfrm>
            <a:off x="9562997" y="1898504"/>
            <a:ext cx="2629003" cy="3734225"/>
          </a:xfrm>
          <a:prstGeom prst="rect">
            <a:avLst/>
          </a:prstGeom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7314AEC-0109-4EAB-B8AE-88218191DEFE}"/>
              </a:ext>
            </a:extLst>
          </p:cNvPr>
          <p:cNvCxnSpPr>
            <a:cxnSpLocks/>
          </p:cNvCxnSpPr>
          <p:nvPr/>
        </p:nvCxnSpPr>
        <p:spPr>
          <a:xfrm flipV="1">
            <a:off x="4936940" y="3649399"/>
            <a:ext cx="4900036" cy="13941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allout: Bent Line 7">
            <a:extLst>
              <a:ext uri="{FF2B5EF4-FFF2-40B4-BE49-F238E27FC236}">
                <a16:creationId xmlns:a16="http://schemas.microsoft.com/office/drawing/2014/main" id="{390444C8-536F-4005-AE96-DD9946DBB467}"/>
              </a:ext>
            </a:extLst>
          </p:cNvPr>
          <p:cNvSpPr/>
          <p:nvPr/>
        </p:nvSpPr>
        <p:spPr>
          <a:xfrm>
            <a:off x="7204484" y="4434552"/>
            <a:ext cx="2501273" cy="1908681"/>
          </a:xfrm>
          <a:prstGeom prst="borderCallout2">
            <a:avLst>
              <a:gd name="adj1" fmla="val 18750"/>
              <a:gd name="adj2" fmla="val -8333"/>
              <a:gd name="adj3" fmla="val 20039"/>
              <a:gd name="adj4" fmla="val -39290"/>
              <a:gd name="adj5" fmla="val 15360"/>
              <a:gd name="adj6" fmla="val -5797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“Generic Code”:</a:t>
            </a:r>
          </a:p>
          <a:p>
            <a:pPr algn="ctr"/>
            <a:r>
              <a:rPr lang="en-US" dirty="0"/>
              <a:t>Timestamp,  </a:t>
            </a:r>
            <a:r>
              <a:rPr lang="en-US" dirty="0" err="1"/>
              <a:t>SignalName</a:t>
            </a:r>
            <a:r>
              <a:rPr lang="en-US" dirty="0"/>
              <a:t> and “Payload” is available, </a:t>
            </a:r>
            <a:br>
              <a:rPr lang="en-US" dirty="0"/>
            </a:br>
            <a:r>
              <a:rPr lang="en-US" dirty="0"/>
              <a:t>but no </a:t>
            </a:r>
            <a:r>
              <a:rPr lang="en-US" dirty="0" err="1"/>
              <a:t>SignalId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00544578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27EA2F-EB06-431B-BF58-110C2A084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Define and Deploy Stream Analytics Job - 5</a:t>
            </a:r>
            <a:endParaRPr lang="en-CH" sz="400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F2D103B-97C5-4A1D-81AB-AE9CC22FD4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CH" sz="2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</a:t>
            </a:r>
            <a:endParaRPr lang="en-CH" sz="24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E86CB09-9FCC-42FE-B9DF-60EB670D62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7738" y="94767"/>
            <a:ext cx="2037976" cy="118457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43" name="Oval 42">
            <a:extLst>
              <a:ext uri="{FF2B5EF4-FFF2-40B4-BE49-F238E27FC236}">
                <a16:creationId xmlns:a16="http://schemas.microsoft.com/office/drawing/2014/main" id="{A8AE8246-6075-4566-919F-9AF443185A62}"/>
              </a:ext>
            </a:extLst>
          </p:cNvPr>
          <p:cNvSpPr/>
          <p:nvPr/>
        </p:nvSpPr>
        <p:spPr>
          <a:xfrm>
            <a:off x="386253" y="830114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  <a:endParaRPr lang="en-CH" dirty="0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5D24B922-469A-4473-8B7A-8A84D4B43DE7}"/>
              </a:ext>
            </a:extLst>
          </p:cNvPr>
          <p:cNvSpPr/>
          <p:nvPr/>
        </p:nvSpPr>
        <p:spPr>
          <a:xfrm>
            <a:off x="10057738" y="1117962"/>
            <a:ext cx="775647" cy="19008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DBC57C0-1E41-4993-96C3-F1222F4CFAAF}"/>
              </a:ext>
            </a:extLst>
          </p:cNvPr>
          <p:cNvSpPr txBox="1"/>
          <p:nvPr/>
        </p:nvSpPr>
        <p:spPr>
          <a:xfrm>
            <a:off x="962945" y="2334456"/>
            <a:ext cx="9045589" cy="267765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Ts]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eSignal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b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Measurement]       </a:t>
            </a:r>
          </a:p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WithSignalNam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NER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eSignal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  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=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eSignal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Ts]        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b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)</a:t>
            </a:r>
          </a:p>
        </p:txBody>
      </p:sp>
      <p:sp>
        <p:nvSpPr>
          <p:cNvPr id="6" name="Right Brace 5">
            <a:extLst>
              <a:ext uri="{FF2B5EF4-FFF2-40B4-BE49-F238E27FC236}">
                <a16:creationId xmlns:a16="http://schemas.microsoft.com/office/drawing/2014/main" id="{366E5C49-1A4C-41A8-81AA-EC1A463D75A7}"/>
              </a:ext>
            </a:extLst>
          </p:cNvPr>
          <p:cNvSpPr/>
          <p:nvPr/>
        </p:nvSpPr>
        <p:spPr>
          <a:xfrm>
            <a:off x="6151689" y="4104587"/>
            <a:ext cx="405944" cy="63553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D14EAEF-39FC-4278-A314-8CB261F93DE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57"/>
          <a:stretch/>
        </p:blipFill>
        <p:spPr>
          <a:xfrm>
            <a:off x="9562997" y="1898504"/>
            <a:ext cx="2629003" cy="3734225"/>
          </a:xfrm>
          <a:prstGeom prst="rect">
            <a:avLst/>
          </a:prstGeom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7314AEC-0109-4EAB-B8AE-88218191DEFE}"/>
              </a:ext>
            </a:extLst>
          </p:cNvPr>
          <p:cNvCxnSpPr>
            <a:cxnSpLocks/>
          </p:cNvCxnSpPr>
          <p:nvPr/>
        </p:nvCxnSpPr>
        <p:spPr>
          <a:xfrm flipV="1">
            <a:off x="3432075" y="3017930"/>
            <a:ext cx="6409001" cy="3157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allout: Bent Line 7">
            <a:extLst>
              <a:ext uri="{FF2B5EF4-FFF2-40B4-BE49-F238E27FC236}">
                <a16:creationId xmlns:a16="http://schemas.microsoft.com/office/drawing/2014/main" id="{390444C8-536F-4005-AE96-DD9946DBB467}"/>
              </a:ext>
            </a:extLst>
          </p:cNvPr>
          <p:cNvSpPr/>
          <p:nvPr/>
        </p:nvSpPr>
        <p:spPr>
          <a:xfrm>
            <a:off x="7425252" y="4308571"/>
            <a:ext cx="2501273" cy="1271056"/>
          </a:xfrm>
          <a:prstGeom prst="borderCallout2">
            <a:avLst>
              <a:gd name="adj1" fmla="val 18750"/>
              <a:gd name="adj2" fmla="val -4235"/>
              <a:gd name="adj3" fmla="val 19716"/>
              <a:gd name="adj4" fmla="val -26339"/>
              <a:gd name="adj5" fmla="val 9231"/>
              <a:gd name="adj6" fmla="val -3420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“Generic Code”:</a:t>
            </a:r>
          </a:p>
          <a:p>
            <a:pPr algn="ctr"/>
            <a:r>
              <a:rPr lang="en-US" dirty="0"/>
              <a:t>Timestamp,  </a:t>
            </a:r>
            <a:r>
              <a:rPr lang="en-US" dirty="0" err="1"/>
              <a:t>SignalId</a:t>
            </a:r>
            <a:r>
              <a:rPr lang="en-US" dirty="0"/>
              <a:t> and “Payload” is available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58353669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F67354-D6EC-4899-802B-E97D9FC285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6002"/>
            <a:ext cx="10515600" cy="1325563"/>
          </a:xfrm>
        </p:spPr>
        <p:txBody>
          <a:bodyPr/>
          <a:lstStyle/>
          <a:p>
            <a:r>
              <a:rPr lang="en-US" dirty="0"/>
              <a:t>Test Setup in Visual Studio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01270D-A807-452C-83AC-E62702D19F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73505"/>
            <a:ext cx="1051560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400" b="1" u="sng" dirty="0" err="1"/>
              <a:t>TsSmartStartSimulateDevice</a:t>
            </a:r>
            <a:endParaRPr lang="en-US" sz="1400" b="1" u="sng" dirty="0"/>
          </a:p>
          <a:p>
            <a:r>
              <a:rPr lang="en-US" sz="1400" b="1" dirty="0"/>
              <a:t>Build</a:t>
            </a:r>
            <a:r>
              <a:rPr lang="en-US" sz="1400" dirty="0"/>
              <a:t> </a:t>
            </a:r>
            <a:r>
              <a:rPr lang="en-US" sz="1400" dirty="0" err="1"/>
              <a:t>TsSmartStartSimulateDevice</a:t>
            </a:r>
            <a:r>
              <a:rPr lang="en-US" sz="1400" dirty="0"/>
              <a:t> in Visual Studio</a:t>
            </a:r>
          </a:p>
          <a:p>
            <a:r>
              <a:rPr lang="en-US" sz="1400" dirty="0"/>
              <a:t>Open command prompt and move to your debug bin directory </a:t>
            </a:r>
            <a:br>
              <a:rPr lang="en-US" sz="1400" dirty="0"/>
            </a:br>
            <a:r>
              <a:rPr lang="en-US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(.....\</a:t>
            </a:r>
            <a:r>
              <a:rPr lang="en-US" sz="12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sSmartStartSimulateDevice</a:t>
            </a:r>
            <a:r>
              <a:rPr lang="en-US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\bin\Debug\netcoreapp3.1)</a:t>
            </a:r>
            <a:endParaRPr lang="en-US" sz="14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/>
              <a:t>Type: </a:t>
            </a:r>
            <a:r>
              <a:rPr lang="en-US" sz="1400" b="1" dirty="0">
                <a:latin typeface="Courier New" panose="02070309020205020404" pitchFamily="49" charset="0"/>
                <a:cs typeface="Courier New" panose="02070309020205020404" pitchFamily="49" charset="0"/>
              </a:rPr>
              <a:t>start TsSmartStartSimulateDevice.exe </a:t>
            </a:r>
            <a:br>
              <a:rPr lang="en-US" sz="1400" b="1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en-US" sz="14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400" b="1" u="sng" dirty="0" err="1"/>
              <a:t>TsSmartStreamAnalyticsJob</a:t>
            </a:r>
            <a:endParaRPr lang="en-US" sz="1400" b="1" u="sng" dirty="0"/>
          </a:p>
          <a:p>
            <a:r>
              <a:rPr lang="en-US" sz="1400" dirty="0"/>
              <a:t>Define Use Cloud Input/Use Cloud Output and Click </a:t>
            </a:r>
          </a:p>
          <a:p>
            <a:pPr marL="0" indent="0">
              <a:buNone/>
            </a:pPr>
            <a:endParaRPr lang="en-CH" sz="140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E40727A-7011-4271-AC38-2A2F8E708A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1932" y="1332496"/>
            <a:ext cx="4547397" cy="169697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79271731-77EF-4437-9D75-C1A19CF583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4214" y="3628257"/>
            <a:ext cx="3939421" cy="2626281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7EAE73FF-5EAA-4B6D-BD79-C947E19B8D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91932" y="3628257"/>
            <a:ext cx="3939421" cy="262843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4CE04227-E1FA-4790-8CC6-D1D49935DC3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38090" y="3363435"/>
            <a:ext cx="561979" cy="185739"/>
          </a:xfrm>
          <a:prstGeom prst="rect">
            <a:avLst/>
          </a:prstGeom>
          <a:ln>
            <a:solidFill>
              <a:schemeClr val="accent1">
                <a:shade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55109178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A36870-4D7E-4CDF-979D-0F0EA60BDD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eck Data in Database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9474382-FDFA-4741-8860-175C893BDD1A}"/>
              </a:ext>
            </a:extLst>
          </p:cNvPr>
          <p:cNvSpPr txBox="1"/>
          <p:nvPr/>
        </p:nvSpPr>
        <p:spPr>
          <a:xfrm>
            <a:off x="838200" y="1720840"/>
            <a:ext cx="11106406" cy="461664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</a:t>
            </a: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p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8 </a:t>
            </a:r>
            <a:r>
              <a:rPr lang="de-CH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</a:t>
            </a: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DER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5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</a:t>
            </a: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p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6 </a:t>
            </a:r>
            <a:r>
              <a:rPr lang="de-CH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5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WrongMessageFormatOrDataType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DER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5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</a:t>
            </a: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DF98EF0-58AD-4F79-B152-7ED2F74412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9891" y="2306692"/>
            <a:ext cx="9215505" cy="523879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CE3DC23F-2D6B-4F03-87D7-A8116BD9421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7423" y="3560957"/>
            <a:ext cx="4067205" cy="1176346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41C2815-F15B-4B81-822B-63772EFD1AA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9892" y="5467689"/>
            <a:ext cx="10854182" cy="804754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F2538C58-0EDA-4043-A9E2-71BAEB8F4B58}"/>
              </a:ext>
            </a:extLst>
          </p:cNvPr>
          <p:cNvGrpSpPr/>
          <p:nvPr/>
        </p:nvGrpSpPr>
        <p:grpSpPr>
          <a:xfrm>
            <a:off x="6239734" y="2937392"/>
            <a:ext cx="5704871" cy="3555483"/>
            <a:chOff x="7077933" y="2928927"/>
            <a:chExt cx="5411940" cy="2638641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3DF0D15-4C30-46DB-BCEB-02811D22F961}"/>
                </a:ext>
              </a:extLst>
            </p:cNvPr>
            <p:cNvSpPr/>
            <p:nvPr/>
          </p:nvSpPr>
          <p:spPr>
            <a:xfrm>
              <a:off x="7128164" y="2928928"/>
              <a:ext cx="5361709" cy="263864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0B41879-7D54-4A2B-8575-3761730E3891}"/>
                </a:ext>
              </a:extLst>
            </p:cNvPr>
            <p:cNvSpPr txBox="1"/>
            <p:nvPr/>
          </p:nvSpPr>
          <p:spPr>
            <a:xfrm>
              <a:off x="7077933" y="2928927"/>
              <a:ext cx="5411940" cy="22472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de-CH" sz="120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de-CH" sz="1200" dirty="0" err="1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Stored</a:t>
              </a:r>
              <a:r>
                <a:rPr lang="de-CH" sz="120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de-CH" sz="1200" dirty="0" err="1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Procedure</a:t>
              </a:r>
              <a:r>
                <a:rPr lang="de-CH" sz="1200" b="1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:[Core]</a:t>
              </a:r>
              <a:r>
                <a:rPr lang="de-CH" sz="1200" b="1" dirty="0">
                  <a:solidFill>
                    <a:srgbClr val="80808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.</a:t>
              </a:r>
              <a:r>
                <a:rPr lang="de-CH" sz="1200" b="1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[</a:t>
              </a:r>
              <a:r>
                <a:rPr lang="de-CH" sz="1200" b="1" dirty="0" err="1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GetOverviewOfDataInDatabase</a:t>
              </a:r>
              <a:r>
                <a:rPr lang="de-CH" sz="1200" b="1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]</a:t>
              </a:r>
              <a:endParaRPr lang="en-CH" sz="1200" b="1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A2F19127-53BC-414E-8A23-1AF814E2F0B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19893" y="3214390"/>
            <a:ext cx="5421197" cy="3185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56433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A0B37C-5B8F-4F76-8E2F-396C02FAB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Deploy Stream Analytics Job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B28249-422D-4322-B554-985DC22136B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b="1" u="sng" dirty="0" err="1"/>
              <a:t>TsSmartStreamAnalyticsJob</a:t>
            </a:r>
            <a:endParaRPr lang="en-US" sz="2000" b="1" u="sng" dirty="0"/>
          </a:p>
          <a:p>
            <a:r>
              <a:rPr lang="en-US" sz="2000" dirty="0"/>
              <a:t>Click 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4B35F587-E7AF-4E60-9379-F5BD404DC481}"/>
              </a:ext>
            </a:extLst>
          </p:cNvPr>
          <p:cNvSpPr/>
          <p:nvPr/>
        </p:nvSpPr>
        <p:spPr>
          <a:xfrm>
            <a:off x="386253" y="830114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  <a:endParaRPr lang="en-CH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E6D73D2-C2F5-4246-B82E-0957F9FC6E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5551" y="2307846"/>
            <a:ext cx="1155554" cy="218029"/>
          </a:xfrm>
          <a:prstGeom prst="rect">
            <a:avLst/>
          </a:prstGeom>
          <a:ln>
            <a:solidFill>
              <a:schemeClr val="accent1">
                <a:shade val="50000"/>
              </a:schemeClr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D7BEF1E-C6F4-4839-A0A6-BF0793AC7E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5352" y="2565226"/>
            <a:ext cx="3533801" cy="17669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06B7603-CB99-4D2D-9E84-632B760198B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80456" y="2035146"/>
            <a:ext cx="6383592" cy="420342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05A13DC-2A22-40D8-9F46-E1A3C6F2514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80456" y="1504797"/>
            <a:ext cx="2390792" cy="433391"/>
          </a:xfrm>
          <a:prstGeom prst="rect">
            <a:avLst/>
          </a:prstGeom>
        </p:spPr>
      </p:pic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37F2C3AB-A40B-4282-B00E-44789331A782}"/>
              </a:ext>
            </a:extLst>
          </p:cNvPr>
          <p:cNvCxnSpPr>
            <a:cxnSpLocks/>
          </p:cNvCxnSpPr>
          <p:nvPr/>
        </p:nvCxnSpPr>
        <p:spPr>
          <a:xfrm flipV="1">
            <a:off x="3829819" y="2390561"/>
            <a:ext cx="1201431" cy="14843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31012B72-383F-4A89-A0A6-866D1D47A363}"/>
              </a:ext>
            </a:extLst>
          </p:cNvPr>
          <p:cNvSpPr/>
          <p:nvPr/>
        </p:nvSpPr>
        <p:spPr>
          <a:xfrm>
            <a:off x="5080456" y="1459760"/>
            <a:ext cx="6523813" cy="4945140"/>
          </a:xfrm>
          <a:prstGeom prst="rect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2FE14BBB-B56F-4B19-A6A1-BA8AB4A0756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74376" y="1191938"/>
            <a:ext cx="975588" cy="487794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02058817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D02940-B6DD-487B-8583-8B76159ED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dy to run</a:t>
            </a:r>
          </a:p>
        </p:txBody>
      </p:sp>
      <p:sp>
        <p:nvSpPr>
          <p:cNvPr id="4" name="Flowchart: Magnetic Disk 3">
            <a:extLst>
              <a:ext uri="{FF2B5EF4-FFF2-40B4-BE49-F238E27FC236}">
                <a16:creationId xmlns:a16="http://schemas.microsoft.com/office/drawing/2014/main" id="{4FA36A61-2F59-4FE6-865E-3C04B4F1F559}"/>
              </a:ext>
            </a:extLst>
          </p:cNvPr>
          <p:cNvSpPr/>
          <p:nvPr/>
        </p:nvSpPr>
        <p:spPr>
          <a:xfrm>
            <a:off x="1511870" y="1421844"/>
            <a:ext cx="10379110" cy="5337683"/>
          </a:xfrm>
          <a:prstGeom prst="flowChartMagneticDisk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71EB808-A8DE-4F25-901A-69EF93895A4C}"/>
              </a:ext>
            </a:extLst>
          </p:cNvPr>
          <p:cNvCxnSpPr>
            <a:cxnSpLocks/>
          </p:cNvCxnSpPr>
          <p:nvPr/>
        </p:nvCxnSpPr>
        <p:spPr>
          <a:xfrm>
            <a:off x="4858377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EA6C428-F9E0-4C5F-98AD-1D3FCA2D65D1}"/>
              </a:ext>
            </a:extLst>
          </p:cNvPr>
          <p:cNvCxnSpPr>
            <a:cxnSpLocks/>
          </p:cNvCxnSpPr>
          <p:nvPr/>
        </p:nvCxnSpPr>
        <p:spPr>
          <a:xfrm>
            <a:off x="8542772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C8DC9DA-BD43-421D-88F8-45836804F1E5}"/>
              </a:ext>
            </a:extLst>
          </p:cNvPr>
          <p:cNvSpPr txBox="1"/>
          <p:nvPr/>
        </p:nvSpPr>
        <p:spPr>
          <a:xfrm>
            <a:off x="2451797" y="1792403"/>
            <a:ext cx="7508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ges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8A31ED-B6F9-4F1D-B961-0891206C437A}"/>
              </a:ext>
            </a:extLst>
          </p:cNvPr>
          <p:cNvSpPr txBox="1"/>
          <p:nvPr/>
        </p:nvSpPr>
        <p:spPr>
          <a:xfrm>
            <a:off x="6342444" y="1792403"/>
            <a:ext cx="6224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r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FBF16C-EF3A-4A6A-8ACA-8BB31472758B}"/>
              </a:ext>
            </a:extLst>
          </p:cNvPr>
          <p:cNvSpPr txBox="1"/>
          <p:nvPr/>
        </p:nvSpPr>
        <p:spPr>
          <a:xfrm>
            <a:off x="9689449" y="1792403"/>
            <a:ext cx="6495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art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8A7DB9E9-F180-424A-AC91-4E7E3F11897E}"/>
              </a:ext>
            </a:extLst>
          </p:cNvPr>
          <p:cNvSpPr/>
          <p:nvPr/>
        </p:nvSpPr>
        <p:spPr>
          <a:xfrm>
            <a:off x="1044781" y="2625516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Picture 2" descr="Microsoft BI Tools: Azure Stream Analytics">
            <a:extLst>
              <a:ext uri="{FF2B5EF4-FFF2-40B4-BE49-F238E27FC236}">
                <a16:creationId xmlns:a16="http://schemas.microsoft.com/office/drawing/2014/main" id="{A16FF947-FC42-4A4F-9109-4E54F4F18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972" y="3690994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762EDC4B-80DA-4236-B094-C4CF49C8E0A9}"/>
              </a:ext>
            </a:extLst>
          </p:cNvPr>
          <p:cNvSpPr txBox="1"/>
          <p:nvPr/>
        </p:nvSpPr>
        <p:spPr>
          <a:xfrm>
            <a:off x="142658" y="4213488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sp>
        <p:nvSpPr>
          <p:cNvPr id="39" name="Arrow: Right 38">
            <a:extLst>
              <a:ext uri="{FF2B5EF4-FFF2-40B4-BE49-F238E27FC236}">
                <a16:creationId xmlns:a16="http://schemas.microsoft.com/office/drawing/2014/main" id="{E9656CDD-D9D9-4121-A8A2-1E39931B8A19}"/>
              </a:ext>
            </a:extLst>
          </p:cNvPr>
          <p:cNvSpPr/>
          <p:nvPr/>
        </p:nvSpPr>
        <p:spPr>
          <a:xfrm>
            <a:off x="8184382" y="2838368"/>
            <a:ext cx="713433" cy="653143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30EBEC1A-7F8A-4648-BD20-BBE11369AD6C}"/>
              </a:ext>
            </a:extLst>
          </p:cNvPr>
          <p:cNvSpPr/>
          <p:nvPr/>
        </p:nvSpPr>
        <p:spPr>
          <a:xfrm>
            <a:off x="1055681" y="3560344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Arrow: Right 24">
            <a:extLst>
              <a:ext uri="{FF2B5EF4-FFF2-40B4-BE49-F238E27FC236}">
                <a16:creationId xmlns:a16="http://schemas.microsoft.com/office/drawing/2014/main" id="{6FBA0D59-BB13-4210-8B6C-4F43E894BD22}"/>
              </a:ext>
            </a:extLst>
          </p:cNvPr>
          <p:cNvSpPr/>
          <p:nvPr/>
        </p:nvSpPr>
        <p:spPr>
          <a:xfrm>
            <a:off x="1045923" y="5168704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8F832C79-4CEB-45D3-8919-D7B181BDB436}"/>
              </a:ext>
            </a:extLst>
          </p:cNvPr>
          <p:cNvCxnSpPr/>
          <p:nvPr/>
        </p:nvCxnSpPr>
        <p:spPr>
          <a:xfrm>
            <a:off x="1574656" y="4642338"/>
            <a:ext cx="6932106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3B122783-3F72-400D-ACFB-48A495F8EA5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149" t="2175" r="5258" b="4129"/>
          <a:stretch/>
        </p:blipFill>
        <p:spPr>
          <a:xfrm>
            <a:off x="6096000" y="2263450"/>
            <a:ext cx="1440619" cy="223063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6FF1D5A-DE47-4643-9343-7720D7B339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23328" y="4888727"/>
            <a:ext cx="2757508" cy="1562111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904F2CD-6C56-4491-9E2A-910231D546B7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57945" y="3555287"/>
            <a:ext cx="2028840" cy="100013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1025047B-F8DA-482E-91BC-400E2CA88320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54575" y="2552154"/>
            <a:ext cx="2009790" cy="781056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0BFF8E86-24C3-4762-8256-37638D86FBD4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848965" y="4729258"/>
            <a:ext cx="2724170" cy="1476386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E8C1D313-F891-45FC-9009-A5812CBA0DAD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572876" y="2552748"/>
            <a:ext cx="1452573" cy="1138246"/>
          </a:xfrm>
          <a:prstGeom prst="rect">
            <a:avLst/>
          </a:prstGeom>
        </p:spPr>
      </p:pic>
      <p:pic>
        <p:nvPicPr>
          <p:cNvPr id="3" name="Picture 2" descr="A picture containing chart&#10;&#10;Description automatically generated">
            <a:extLst>
              <a:ext uri="{FF2B5EF4-FFF2-40B4-BE49-F238E27FC236}">
                <a16:creationId xmlns:a16="http://schemas.microsoft.com/office/drawing/2014/main" id="{A0F89FCC-6ADF-4536-B947-3843CB7B085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39"/>
          <a:stretch/>
        </p:blipFill>
        <p:spPr bwMode="auto">
          <a:xfrm>
            <a:off x="9172977" y="0"/>
            <a:ext cx="3019023" cy="1184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902542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>
                <a:highlight>
                  <a:srgbClr val="FFFF00"/>
                </a:highlight>
              </a:rPr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/>
              <a:t>Poor man’s digital twin </a:t>
            </a:r>
          </a:p>
          <a:p>
            <a:pPr lvl="1"/>
            <a:r>
              <a:rPr lang="en-US" dirty="0"/>
              <a:t>Restrict Data Access</a:t>
            </a:r>
          </a:p>
          <a:p>
            <a:pPr lvl="1"/>
            <a:r>
              <a:rPr lang="en-US" dirty="0"/>
              <a:t>Efficient Queries</a:t>
            </a:r>
          </a:p>
          <a:p>
            <a:pPr lvl="1"/>
            <a:r>
              <a:rPr lang="en-US" dirty="0"/>
              <a:t>Monitor activity/reset the database</a:t>
            </a:r>
          </a:p>
          <a:p>
            <a:r>
              <a:rPr lang="en-US" dirty="0"/>
              <a:t>Database Tiers</a:t>
            </a:r>
          </a:p>
          <a:p>
            <a:r>
              <a:rPr lang="en-US" dirty="0"/>
              <a:t>Conclusion and next Steps</a:t>
            </a:r>
          </a:p>
          <a:p>
            <a:pPr lvl="1"/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19798663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A7B67-73A5-4950-ADC1-081A053A07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re Details</a:t>
            </a:r>
          </a:p>
        </p:txBody>
      </p:sp>
      <p:pic>
        <p:nvPicPr>
          <p:cNvPr id="5" name="Picture 2" descr="Microsoft BI Tools: Azure Stream Analytics">
            <a:extLst>
              <a:ext uri="{FF2B5EF4-FFF2-40B4-BE49-F238E27FC236}">
                <a16:creationId xmlns:a16="http://schemas.microsoft.com/office/drawing/2014/main" id="{DCF5535F-263B-4DC5-A86C-1F4F6BB8C7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8926" y="3685806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AA705E7-3F55-47D0-A7D9-25BC1CA83B55}"/>
              </a:ext>
            </a:extLst>
          </p:cNvPr>
          <p:cNvSpPr txBox="1"/>
          <p:nvPr/>
        </p:nvSpPr>
        <p:spPr>
          <a:xfrm>
            <a:off x="3152612" y="4208300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pic>
        <p:nvPicPr>
          <p:cNvPr id="9" name="Picture 2" descr="Azure SQL Database with Elastic pools – Lee's Tech Blog">
            <a:extLst>
              <a:ext uri="{FF2B5EF4-FFF2-40B4-BE49-F238E27FC236}">
                <a16:creationId xmlns:a16="http://schemas.microsoft.com/office/drawing/2014/main" id="{4E33686F-517E-41BB-ABFF-963F9F8A6C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7395" y="3685806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FC8E05FA-2F89-4411-94BF-CF75E03A178C}"/>
              </a:ext>
            </a:extLst>
          </p:cNvPr>
          <p:cNvCxnSpPr>
            <a:cxnSpLocks/>
          </p:cNvCxnSpPr>
          <p:nvPr/>
        </p:nvCxnSpPr>
        <p:spPr>
          <a:xfrm>
            <a:off x="3943136" y="3918921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D9D2B24-A1EB-424D-BFF4-87B68C9CB903}"/>
              </a:ext>
            </a:extLst>
          </p:cNvPr>
          <p:cNvSpPr txBox="1"/>
          <p:nvPr/>
        </p:nvSpPr>
        <p:spPr>
          <a:xfrm>
            <a:off x="4588181" y="4208300"/>
            <a:ext cx="9604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Azure SQL </a:t>
            </a:r>
            <a:br>
              <a:rPr lang="en-US" sz="1400" dirty="0"/>
            </a:br>
            <a:r>
              <a:rPr lang="en-US" sz="1400" dirty="0"/>
              <a:t>Database</a:t>
            </a:r>
          </a:p>
        </p:txBody>
      </p:sp>
      <p:pic>
        <p:nvPicPr>
          <p:cNvPr id="15" name="Picture 2" descr="Azure SQL Database with Elastic pools – Lee's Tech Blog">
            <a:extLst>
              <a:ext uri="{FF2B5EF4-FFF2-40B4-BE49-F238E27FC236}">
                <a16:creationId xmlns:a16="http://schemas.microsoft.com/office/drawing/2014/main" id="{2049D06D-055F-4AF1-99E2-1714803A32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1826" y="5099732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0E03AA6-553B-49E2-BDA3-1921D28C172A}"/>
              </a:ext>
            </a:extLst>
          </p:cNvPr>
          <p:cNvSpPr txBox="1"/>
          <p:nvPr/>
        </p:nvSpPr>
        <p:spPr>
          <a:xfrm>
            <a:off x="3174415" y="5622226"/>
            <a:ext cx="9168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Reference</a:t>
            </a:r>
          </a:p>
          <a:p>
            <a:pPr algn="ctr"/>
            <a:r>
              <a:rPr lang="en-US" sz="1400" dirty="0"/>
              <a:t>Data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B8DD805-9601-4476-A2CE-2F18D362F103}"/>
              </a:ext>
            </a:extLst>
          </p:cNvPr>
          <p:cNvCxnSpPr>
            <a:cxnSpLocks/>
            <a:endCxn id="7" idx="2"/>
          </p:cNvCxnSpPr>
          <p:nvPr/>
        </p:nvCxnSpPr>
        <p:spPr>
          <a:xfrm flipV="1">
            <a:off x="3574010" y="4731520"/>
            <a:ext cx="0" cy="2997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" descr="Preise – IoT Hub | Microsoft Azure">
            <a:extLst>
              <a:ext uri="{FF2B5EF4-FFF2-40B4-BE49-F238E27FC236}">
                <a16:creationId xmlns:a16="http://schemas.microsoft.com/office/drawing/2014/main" id="{5027943F-1551-4976-9060-0C51D6B735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8373" y="3648189"/>
            <a:ext cx="1009444" cy="529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22A93C8D-3B61-40C4-BCB6-7EB9AE3340FD}"/>
              </a:ext>
            </a:extLst>
          </p:cNvPr>
          <p:cNvSpPr txBox="1"/>
          <p:nvPr/>
        </p:nvSpPr>
        <p:spPr>
          <a:xfrm>
            <a:off x="1700079" y="4208300"/>
            <a:ext cx="4860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IoT</a:t>
            </a:r>
            <a:br>
              <a:rPr lang="en-US" sz="1400" dirty="0"/>
            </a:br>
            <a:r>
              <a:rPr lang="en-US" sz="1400" dirty="0"/>
              <a:t>Hub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FB9C04D-109E-405C-B94C-451005A56A21}"/>
              </a:ext>
            </a:extLst>
          </p:cNvPr>
          <p:cNvCxnSpPr>
            <a:cxnSpLocks/>
          </p:cNvCxnSpPr>
          <p:nvPr/>
        </p:nvCxnSpPr>
        <p:spPr>
          <a:xfrm>
            <a:off x="2363571" y="3913168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allout: Bent Line 25">
            <a:extLst>
              <a:ext uri="{FF2B5EF4-FFF2-40B4-BE49-F238E27FC236}">
                <a16:creationId xmlns:a16="http://schemas.microsoft.com/office/drawing/2014/main" id="{17BEE9DA-70EA-42C7-955B-A8465710F222}"/>
              </a:ext>
            </a:extLst>
          </p:cNvPr>
          <p:cNvSpPr/>
          <p:nvPr/>
        </p:nvSpPr>
        <p:spPr>
          <a:xfrm>
            <a:off x="6543774" y="1927991"/>
            <a:ext cx="2198226" cy="89491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210882"/>
              <a:gd name="adj6" fmla="val -8487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 duplicate delivery of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28" name="Callout: Bent Line 27">
            <a:extLst>
              <a:ext uri="{FF2B5EF4-FFF2-40B4-BE49-F238E27FC236}">
                <a16:creationId xmlns:a16="http://schemas.microsoft.com/office/drawing/2014/main" id="{F6649FFB-5E51-4A94-B29A-A18CABED7DFD}"/>
              </a:ext>
            </a:extLst>
          </p:cNvPr>
          <p:cNvSpPr/>
          <p:nvPr/>
        </p:nvSpPr>
        <p:spPr>
          <a:xfrm>
            <a:off x="7974521" y="3027118"/>
            <a:ext cx="2391070" cy="1272266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56166"/>
              <a:gd name="adj6" fmla="val -1064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how data only allowed rows, company internal but also for third party users</a:t>
            </a:r>
            <a:endParaRPr lang="en-US" sz="1100" dirty="0"/>
          </a:p>
        </p:txBody>
      </p:sp>
      <p:sp>
        <p:nvSpPr>
          <p:cNvPr id="30" name="Callout: Bent Line 29">
            <a:extLst>
              <a:ext uri="{FF2B5EF4-FFF2-40B4-BE49-F238E27FC236}">
                <a16:creationId xmlns:a16="http://schemas.microsoft.com/office/drawing/2014/main" id="{84D4E801-3D55-4414-ACA4-6FE4F6E95945}"/>
              </a:ext>
            </a:extLst>
          </p:cNvPr>
          <p:cNvSpPr/>
          <p:nvPr/>
        </p:nvSpPr>
        <p:spPr>
          <a:xfrm>
            <a:off x="4647010" y="5070549"/>
            <a:ext cx="2285810" cy="976875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8313"/>
              <a:gd name="adj6" fmla="val -3716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place signal name with internal  </a:t>
            </a:r>
            <a:br>
              <a:rPr lang="en-US" dirty="0"/>
            </a:br>
            <a:r>
              <a:rPr lang="en-US" dirty="0" err="1"/>
              <a:t>SignalId</a:t>
            </a:r>
            <a:endParaRPr lang="en-US" sz="1100" dirty="0"/>
          </a:p>
        </p:txBody>
      </p:sp>
      <p:sp>
        <p:nvSpPr>
          <p:cNvPr id="32" name="Callout: Bent Line 31">
            <a:extLst>
              <a:ext uri="{FF2B5EF4-FFF2-40B4-BE49-F238E27FC236}">
                <a16:creationId xmlns:a16="http://schemas.microsoft.com/office/drawing/2014/main" id="{C66A6811-F26C-4E25-B93B-50E93B0D271A}"/>
              </a:ext>
            </a:extLst>
          </p:cNvPr>
          <p:cNvSpPr/>
          <p:nvPr/>
        </p:nvSpPr>
        <p:spPr>
          <a:xfrm>
            <a:off x="7974521" y="4494511"/>
            <a:ext cx="2391070" cy="1057944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40187"/>
              <a:gd name="adj6" fmla="val -10747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eep history of all security relevant meta data changes</a:t>
            </a:r>
            <a:endParaRPr lang="en-US" sz="1100" dirty="0"/>
          </a:p>
        </p:txBody>
      </p:sp>
      <p:sp>
        <p:nvSpPr>
          <p:cNvPr id="3" name="Callout: Bent Line 2">
            <a:extLst>
              <a:ext uri="{FF2B5EF4-FFF2-40B4-BE49-F238E27FC236}">
                <a16:creationId xmlns:a16="http://schemas.microsoft.com/office/drawing/2014/main" id="{C53C303B-6D19-466F-B639-9751B8CF69CE}"/>
              </a:ext>
            </a:extLst>
          </p:cNvPr>
          <p:cNvSpPr/>
          <p:nvPr/>
        </p:nvSpPr>
        <p:spPr>
          <a:xfrm>
            <a:off x="3407385" y="2463787"/>
            <a:ext cx="2198226" cy="79184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78668"/>
              <a:gd name="adj6" fmla="val -3800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al with </a:t>
            </a:r>
            <a:br>
              <a:rPr lang="en-US" dirty="0"/>
            </a:br>
            <a:r>
              <a:rPr lang="en-US" dirty="0"/>
              <a:t>mal formed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58D1AE5-AA13-4902-88AF-BCE402063213}"/>
              </a:ext>
            </a:extLst>
          </p:cNvPr>
          <p:cNvSpPr/>
          <p:nvPr/>
        </p:nvSpPr>
        <p:spPr>
          <a:xfrm rot="20439882">
            <a:off x="3714270" y="1953089"/>
            <a:ext cx="2795225" cy="4374882"/>
          </a:xfrm>
          <a:prstGeom prst="ellipse">
            <a:avLst/>
          </a:prstGeom>
          <a:noFill/>
          <a:ln w="3492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425297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B4C750-8B18-496A-8E3C-413E4B03E8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148890"/>
            <a:ext cx="10515600" cy="1325563"/>
          </a:xfrm>
        </p:spPr>
        <p:txBody>
          <a:bodyPr>
            <a:normAutofit/>
          </a:bodyPr>
          <a:lstStyle/>
          <a:p>
            <a:r>
              <a:rPr lang="en-GB" sz="3600" dirty="0"/>
              <a:t>Signal Registration </a:t>
            </a:r>
            <a:br>
              <a:rPr lang="en-GB" sz="3600" dirty="0"/>
            </a:br>
            <a:r>
              <a:rPr lang="en-GB" sz="3600" dirty="0"/>
              <a:t>Process</a:t>
            </a:r>
            <a:endParaRPr lang="en-CH" sz="36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56176F8-17E1-4D52-8589-B67A23A46112}"/>
              </a:ext>
            </a:extLst>
          </p:cNvPr>
          <p:cNvSpPr txBox="1"/>
          <p:nvPr/>
        </p:nvSpPr>
        <p:spPr>
          <a:xfrm>
            <a:off x="838200" y="1646856"/>
            <a:ext cx="4477789" cy="212365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en-CH" sz="8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endParaRPr lang="en-CH" sz="8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Timestamp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2021-12-08T14:01:14.5094082Z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Label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</a:t>
            </a:r>
            <a:r>
              <a:rPr lang="de-CH" sz="800" dirty="0" err="1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emperatur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Value": "12.34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Text": "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ProcessedUtcTim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2021-12-08T14:01:14.5771421Z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ition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1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EnqueuedUtcTim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2021-12-08T14:01:15.0040000Z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Hub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{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ssage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null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relation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null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nectionDevice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</a:t>
            </a:r>
            <a:r>
              <a:rPr lang="de-CH" sz="800" dirty="0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mewTsSmartStartHubDevice001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nectionDeviceGeneration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637740536776612383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queuedTim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2021-12-08T14:01:15.0050000Z"</a:t>
            </a:r>
          </a:p>
          <a:p>
            <a:r>
              <a:rPr lang="en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}</a:t>
            </a:r>
          </a:p>
          <a:p>
            <a:r>
              <a:rPr lang="en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de-CH" sz="8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7" name="Picture 6" descr="A picture containing chart&#10;&#10;Description automatically generated">
            <a:extLst>
              <a:ext uri="{FF2B5EF4-FFF2-40B4-BE49-F238E27FC236}">
                <a16:creationId xmlns:a16="http://schemas.microsoft.com/office/drawing/2014/main" id="{B9D1A077-D9A3-4830-9B0C-EBF62CE960A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39"/>
          <a:stretch/>
        </p:blipFill>
        <p:spPr bwMode="auto">
          <a:xfrm>
            <a:off x="3806477" y="3466409"/>
            <a:ext cx="3019023" cy="1184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8542E87-A15A-4C1A-9D14-0A3C45609C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94789" y="2476459"/>
            <a:ext cx="3510627" cy="252765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0DC341F-BFD7-4B73-8A53-20E3592A34B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94604" y="2510615"/>
            <a:ext cx="2543615" cy="203489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3E75630-7915-4381-B55B-4A803BE9386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141353" y="1690688"/>
            <a:ext cx="438153" cy="67628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A2368CD-A7B2-4093-8618-B8FEC2E9EE0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48977" y="1659763"/>
            <a:ext cx="487746" cy="679556"/>
          </a:xfrm>
          <a:prstGeom prst="rect">
            <a:avLst/>
          </a:prstGeom>
        </p:spPr>
      </p:pic>
      <p:sp>
        <p:nvSpPr>
          <p:cNvPr id="16" name="Arrow: Curved Up 15">
            <a:extLst>
              <a:ext uri="{FF2B5EF4-FFF2-40B4-BE49-F238E27FC236}">
                <a16:creationId xmlns:a16="http://schemas.microsoft.com/office/drawing/2014/main" id="{98AA521D-0F4A-46BF-97D2-ED111BDD6654}"/>
              </a:ext>
            </a:extLst>
          </p:cNvPr>
          <p:cNvSpPr/>
          <p:nvPr/>
        </p:nvSpPr>
        <p:spPr>
          <a:xfrm rot="701813">
            <a:off x="7614134" y="2944945"/>
            <a:ext cx="2178579" cy="492646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2457A146-0CE9-4EC7-BB58-072943F200F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" r="49298" b="6843"/>
          <a:stretch/>
        </p:blipFill>
        <p:spPr>
          <a:xfrm>
            <a:off x="5324301" y="4694857"/>
            <a:ext cx="1047332" cy="15084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28B4EC5D-6B7C-4017-BFB1-FFA9C117582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780993" y="2493314"/>
            <a:ext cx="3332261" cy="223989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grpSp>
        <p:nvGrpSpPr>
          <p:cNvPr id="41" name="Group 40">
            <a:extLst>
              <a:ext uri="{FF2B5EF4-FFF2-40B4-BE49-F238E27FC236}">
                <a16:creationId xmlns:a16="http://schemas.microsoft.com/office/drawing/2014/main" id="{6EA19F44-1429-4945-9C8D-450B882692C6}"/>
              </a:ext>
            </a:extLst>
          </p:cNvPr>
          <p:cNvGrpSpPr/>
          <p:nvPr/>
        </p:nvGrpSpPr>
        <p:grpSpPr>
          <a:xfrm>
            <a:off x="6663433" y="-23174"/>
            <a:ext cx="3619410" cy="635897"/>
            <a:chOff x="6783967" y="3270180"/>
            <a:chExt cx="3619410" cy="635897"/>
          </a:xfrm>
        </p:grpSpPr>
        <p:sp>
          <p:nvSpPr>
            <p:cNvPr id="28" name="Arrow: Right 27">
              <a:extLst>
                <a:ext uri="{FF2B5EF4-FFF2-40B4-BE49-F238E27FC236}">
                  <a16:creationId xmlns:a16="http://schemas.microsoft.com/office/drawing/2014/main" id="{BE6A4D77-975B-463F-A1E9-3DCB009C07F7}"/>
                </a:ext>
              </a:extLst>
            </p:cNvPr>
            <p:cNvSpPr/>
            <p:nvPr/>
          </p:nvSpPr>
          <p:spPr>
            <a:xfrm>
              <a:off x="6878782" y="3270180"/>
              <a:ext cx="3458089" cy="635897"/>
            </a:xfrm>
            <a:prstGeom prst="rightArrow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79F854EC-A057-4590-BBC5-C0ABEBB8EB8C}"/>
                </a:ext>
              </a:extLst>
            </p:cNvPr>
            <p:cNvSpPr txBox="1"/>
            <p:nvPr/>
          </p:nvSpPr>
          <p:spPr>
            <a:xfrm>
              <a:off x="6783967" y="3443823"/>
              <a:ext cx="3619410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de-CH" sz="120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[</a:t>
              </a:r>
              <a:r>
                <a:rPr lang="de-CH" sz="1200" dirty="0" err="1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Ingest</a:t>
              </a:r>
              <a:r>
                <a:rPr lang="de-CH" sz="120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].[</a:t>
              </a:r>
              <a:r>
                <a:rPr lang="de-CH" sz="1200" dirty="0" err="1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MeasurementWithSignalName</a:t>
              </a:r>
              <a:r>
                <a:rPr lang="de-CH" sz="120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] </a:t>
              </a:r>
              <a:endParaRPr lang="en-CH" sz="1200" dirty="0"/>
            </a:p>
          </p:txBody>
        </p:sp>
      </p:grp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490219A5-4CF2-4EBD-9561-8F180ACBD329}"/>
              </a:ext>
            </a:extLst>
          </p:cNvPr>
          <p:cNvCxnSpPr/>
          <p:nvPr/>
        </p:nvCxnSpPr>
        <p:spPr>
          <a:xfrm>
            <a:off x="8715893" y="1027906"/>
            <a:ext cx="0" cy="5389519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Arrow: Curved Up 24">
            <a:extLst>
              <a:ext uri="{FF2B5EF4-FFF2-40B4-BE49-F238E27FC236}">
                <a16:creationId xmlns:a16="http://schemas.microsoft.com/office/drawing/2014/main" id="{A9081761-6311-4D59-9C1A-968E0240A48B}"/>
              </a:ext>
            </a:extLst>
          </p:cNvPr>
          <p:cNvSpPr/>
          <p:nvPr/>
        </p:nvSpPr>
        <p:spPr>
          <a:xfrm rot="21324968" flipH="1">
            <a:off x="5699774" y="4021381"/>
            <a:ext cx="4917255" cy="567142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70012BC6-2361-4296-ADEC-3A92483A864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45826" b="-402"/>
          <a:stretch/>
        </p:blipFill>
        <p:spPr>
          <a:xfrm>
            <a:off x="4988109" y="4687715"/>
            <a:ext cx="2349951" cy="29275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30" name="Arrow: Right 29">
            <a:extLst>
              <a:ext uri="{FF2B5EF4-FFF2-40B4-BE49-F238E27FC236}">
                <a16:creationId xmlns:a16="http://schemas.microsoft.com/office/drawing/2014/main" id="{906E096A-2896-40C4-AFA3-56FA27BF0838}"/>
              </a:ext>
            </a:extLst>
          </p:cNvPr>
          <p:cNvSpPr/>
          <p:nvPr/>
        </p:nvSpPr>
        <p:spPr>
          <a:xfrm>
            <a:off x="6878782" y="5102789"/>
            <a:ext cx="3458089" cy="635897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D5F55C9-EA09-462E-9D58-C85F679D6D99}"/>
              </a:ext>
            </a:extLst>
          </p:cNvPr>
          <p:cNvSpPr txBox="1"/>
          <p:nvPr/>
        </p:nvSpPr>
        <p:spPr>
          <a:xfrm>
            <a:off x="7516057" y="5293023"/>
            <a:ext cx="252987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Measurement] </a:t>
            </a:r>
            <a:endParaRPr lang="en-CH" sz="1200" dirty="0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805EA4FA-1327-4130-9333-09EABE8FD8E6}"/>
              </a:ext>
            </a:extLst>
          </p:cNvPr>
          <p:cNvSpPr/>
          <p:nvPr/>
        </p:nvSpPr>
        <p:spPr>
          <a:xfrm>
            <a:off x="4957814" y="2383280"/>
            <a:ext cx="1939571" cy="496996"/>
          </a:xfrm>
          <a:prstGeom prst="ellipse">
            <a:avLst/>
          </a:prstGeom>
          <a:noFill/>
          <a:ln w="3492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DFB582CA-0C60-44A0-9A44-E9F2F0AB023B}"/>
              </a:ext>
            </a:extLst>
          </p:cNvPr>
          <p:cNvSpPr/>
          <p:nvPr/>
        </p:nvSpPr>
        <p:spPr>
          <a:xfrm>
            <a:off x="4730634" y="4592538"/>
            <a:ext cx="2730731" cy="496996"/>
          </a:xfrm>
          <a:prstGeom prst="ellipse">
            <a:avLst/>
          </a:prstGeom>
          <a:noFill/>
          <a:ln w="3492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8FDF2BBB-B124-49B4-B6D5-09104997010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15368" y="644960"/>
            <a:ext cx="7305728" cy="909644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B704DA36-C420-445F-8187-E84D4DF6DE0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891307" y="5670917"/>
            <a:ext cx="3624289" cy="928694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1026" name="Picture 2" descr="Sanduhr Symbol Zeichen Zeit Läuft Geschenk&amp;#39; Sticker | Spreadshirt">
            <a:extLst>
              <a:ext uri="{FF2B5EF4-FFF2-40B4-BE49-F238E27FC236}">
                <a16:creationId xmlns:a16="http://schemas.microsoft.com/office/drawing/2014/main" id="{CE11872D-8245-427C-90B8-BE7D768444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6337" y="3189358"/>
            <a:ext cx="607664" cy="607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72195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6" grpId="0" animBg="1"/>
      <p:bldP spid="25" grpId="0" animBg="1"/>
      <p:bldP spid="30" grpId="0" animBg="1"/>
      <p:bldP spid="32" grpId="0"/>
      <p:bldP spid="34" grpId="0" animBg="1"/>
      <p:bldP spid="36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D02940-B6DD-487B-8583-8B76159ED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in Azure SQL Database Structures </a:t>
            </a:r>
          </a:p>
        </p:txBody>
      </p:sp>
      <p:sp>
        <p:nvSpPr>
          <p:cNvPr id="4" name="Flowchart: Magnetic Disk 3">
            <a:extLst>
              <a:ext uri="{FF2B5EF4-FFF2-40B4-BE49-F238E27FC236}">
                <a16:creationId xmlns:a16="http://schemas.microsoft.com/office/drawing/2014/main" id="{4FA36A61-2F59-4FE6-865E-3C04B4F1F559}"/>
              </a:ext>
            </a:extLst>
          </p:cNvPr>
          <p:cNvSpPr/>
          <p:nvPr/>
        </p:nvSpPr>
        <p:spPr>
          <a:xfrm>
            <a:off x="1511870" y="1421844"/>
            <a:ext cx="10379110" cy="5337683"/>
          </a:xfrm>
          <a:prstGeom prst="flowChartMagneticDisk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71EB808-A8DE-4F25-901A-69EF93895A4C}"/>
              </a:ext>
            </a:extLst>
          </p:cNvPr>
          <p:cNvCxnSpPr>
            <a:cxnSpLocks/>
          </p:cNvCxnSpPr>
          <p:nvPr/>
        </p:nvCxnSpPr>
        <p:spPr>
          <a:xfrm>
            <a:off x="4858377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EA6C428-F9E0-4C5F-98AD-1D3FCA2D65D1}"/>
              </a:ext>
            </a:extLst>
          </p:cNvPr>
          <p:cNvCxnSpPr>
            <a:cxnSpLocks/>
          </p:cNvCxnSpPr>
          <p:nvPr/>
        </p:nvCxnSpPr>
        <p:spPr>
          <a:xfrm>
            <a:off x="8542772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C8DC9DA-BD43-421D-88F8-45836804F1E5}"/>
              </a:ext>
            </a:extLst>
          </p:cNvPr>
          <p:cNvSpPr txBox="1"/>
          <p:nvPr/>
        </p:nvSpPr>
        <p:spPr>
          <a:xfrm>
            <a:off x="2451797" y="1792403"/>
            <a:ext cx="7508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ges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8A31ED-B6F9-4F1D-B961-0891206C437A}"/>
              </a:ext>
            </a:extLst>
          </p:cNvPr>
          <p:cNvSpPr txBox="1"/>
          <p:nvPr/>
        </p:nvSpPr>
        <p:spPr>
          <a:xfrm>
            <a:off x="6342444" y="1792403"/>
            <a:ext cx="6224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r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FBF16C-EF3A-4A6A-8ACA-8BB31472758B}"/>
              </a:ext>
            </a:extLst>
          </p:cNvPr>
          <p:cNvSpPr txBox="1"/>
          <p:nvPr/>
        </p:nvSpPr>
        <p:spPr>
          <a:xfrm>
            <a:off x="9689449" y="1792403"/>
            <a:ext cx="6495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art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8A7DB9E9-F180-424A-AC91-4E7E3F11897E}"/>
              </a:ext>
            </a:extLst>
          </p:cNvPr>
          <p:cNvSpPr/>
          <p:nvPr/>
        </p:nvSpPr>
        <p:spPr>
          <a:xfrm>
            <a:off x="1044781" y="2625516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Picture 2" descr="Microsoft BI Tools: Azure Stream Analytics">
            <a:extLst>
              <a:ext uri="{FF2B5EF4-FFF2-40B4-BE49-F238E27FC236}">
                <a16:creationId xmlns:a16="http://schemas.microsoft.com/office/drawing/2014/main" id="{A16FF947-FC42-4A4F-9109-4E54F4F18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972" y="3690994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762EDC4B-80DA-4236-B094-C4CF49C8E0A9}"/>
              </a:ext>
            </a:extLst>
          </p:cNvPr>
          <p:cNvSpPr txBox="1"/>
          <p:nvPr/>
        </p:nvSpPr>
        <p:spPr>
          <a:xfrm>
            <a:off x="142658" y="4213488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sp>
        <p:nvSpPr>
          <p:cNvPr id="39" name="Arrow: Right 38">
            <a:extLst>
              <a:ext uri="{FF2B5EF4-FFF2-40B4-BE49-F238E27FC236}">
                <a16:creationId xmlns:a16="http://schemas.microsoft.com/office/drawing/2014/main" id="{E9656CDD-D9D9-4121-A8A2-1E39931B8A19}"/>
              </a:ext>
            </a:extLst>
          </p:cNvPr>
          <p:cNvSpPr/>
          <p:nvPr/>
        </p:nvSpPr>
        <p:spPr>
          <a:xfrm>
            <a:off x="8184382" y="2838368"/>
            <a:ext cx="713433" cy="653143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30EBEC1A-7F8A-4648-BD20-BBE11369AD6C}"/>
              </a:ext>
            </a:extLst>
          </p:cNvPr>
          <p:cNvSpPr/>
          <p:nvPr/>
        </p:nvSpPr>
        <p:spPr>
          <a:xfrm>
            <a:off x="1055681" y="3560344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B122783-3F72-400D-ACFB-48A495F8EA5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149" t="2175" r="5258" b="4129"/>
          <a:stretch/>
        </p:blipFill>
        <p:spPr>
          <a:xfrm>
            <a:off x="6096000" y="2263450"/>
            <a:ext cx="1440619" cy="223063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904F2CD-6C56-4491-9E2A-910231D546B7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57945" y="3555287"/>
            <a:ext cx="2028840" cy="100013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1025047B-F8DA-482E-91BC-400E2CA88320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54575" y="2552154"/>
            <a:ext cx="2009790" cy="781056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E8C1D313-F891-45FC-9009-A5812CBA0DAD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572876" y="2552748"/>
            <a:ext cx="1452573" cy="1138246"/>
          </a:xfrm>
          <a:prstGeom prst="rect">
            <a:avLst/>
          </a:prstGeom>
        </p:spPr>
      </p:pic>
      <p:sp>
        <p:nvSpPr>
          <p:cNvPr id="23" name="Callout: Bent Line 22">
            <a:extLst>
              <a:ext uri="{FF2B5EF4-FFF2-40B4-BE49-F238E27FC236}">
                <a16:creationId xmlns:a16="http://schemas.microsoft.com/office/drawing/2014/main" id="{B495757D-26CC-428E-92A1-589808A918AE}"/>
              </a:ext>
            </a:extLst>
          </p:cNvPr>
          <p:cNvSpPr/>
          <p:nvPr/>
        </p:nvSpPr>
        <p:spPr>
          <a:xfrm>
            <a:off x="4188163" y="1505825"/>
            <a:ext cx="1736709" cy="544712"/>
          </a:xfrm>
          <a:prstGeom prst="borderCallout2">
            <a:avLst>
              <a:gd name="adj1" fmla="val 107296"/>
              <a:gd name="adj2" fmla="val 35640"/>
              <a:gd name="adj3" fmla="val 384925"/>
              <a:gd name="adj4" fmla="val 35985"/>
              <a:gd name="adj5" fmla="val 438363"/>
              <a:gd name="adj6" fmla="val 18745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tead of </a:t>
            </a:r>
            <a:b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ERT Trigger</a:t>
            </a:r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6" name="Arrow: Curved Up 25">
            <a:extLst>
              <a:ext uri="{FF2B5EF4-FFF2-40B4-BE49-F238E27FC236}">
                <a16:creationId xmlns:a16="http://schemas.microsoft.com/office/drawing/2014/main" id="{C0BED8EC-7637-4F94-8EC9-82C1D454147F}"/>
              </a:ext>
            </a:extLst>
          </p:cNvPr>
          <p:cNvSpPr/>
          <p:nvPr/>
        </p:nvSpPr>
        <p:spPr>
          <a:xfrm rot="20399515">
            <a:off x="4194333" y="3518945"/>
            <a:ext cx="2178579" cy="492646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Callout: Bent Line 29">
            <a:extLst>
              <a:ext uri="{FF2B5EF4-FFF2-40B4-BE49-F238E27FC236}">
                <a16:creationId xmlns:a16="http://schemas.microsoft.com/office/drawing/2014/main" id="{7F6928B6-3270-4D0F-B290-EF27F657628F}"/>
              </a:ext>
            </a:extLst>
          </p:cNvPr>
          <p:cNvSpPr/>
          <p:nvPr/>
        </p:nvSpPr>
        <p:spPr>
          <a:xfrm>
            <a:off x="2311890" y="5547271"/>
            <a:ext cx="5861974" cy="574266"/>
          </a:xfrm>
          <a:prstGeom prst="borderCallout2">
            <a:avLst>
              <a:gd name="adj1" fmla="val -5517"/>
              <a:gd name="adj2" fmla="val 42635"/>
              <a:gd name="adj3" fmla="val -219230"/>
              <a:gd name="adj4" fmla="val 42593"/>
              <a:gd name="adj5" fmla="val -256141"/>
              <a:gd name="adj6" fmla="val 37674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Tx/>
              <a:buChar char="-"/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reates missing signals and stores them in  [Core].[Signal]</a:t>
            </a:r>
          </a:p>
          <a:p>
            <a:pPr marL="171450" indent="-171450">
              <a:buFontTx/>
              <a:buChar char="-"/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solves [</a:t>
            </a:r>
            <a:r>
              <a:rPr lang="en-US" sz="1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gnalId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] and routes the event to [Ingest].[Measurement] </a:t>
            </a:r>
          </a:p>
        </p:txBody>
      </p:sp>
      <p:sp>
        <p:nvSpPr>
          <p:cNvPr id="33" name="Arrow: Curved Up 32">
            <a:extLst>
              <a:ext uri="{FF2B5EF4-FFF2-40B4-BE49-F238E27FC236}">
                <a16:creationId xmlns:a16="http://schemas.microsoft.com/office/drawing/2014/main" id="{55E9DC18-0048-4CAA-987E-DE06D259038D}"/>
              </a:ext>
            </a:extLst>
          </p:cNvPr>
          <p:cNvSpPr/>
          <p:nvPr/>
        </p:nvSpPr>
        <p:spPr>
          <a:xfrm rot="16200000">
            <a:off x="3928340" y="3259079"/>
            <a:ext cx="970175" cy="457829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F3CEBF69-6074-44B5-9876-D868A7A49F99}"/>
              </a:ext>
            </a:extLst>
          </p:cNvPr>
          <p:cNvSpPr/>
          <p:nvPr/>
        </p:nvSpPr>
        <p:spPr>
          <a:xfrm>
            <a:off x="4354692" y="3690994"/>
            <a:ext cx="152600" cy="554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69289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6" grpId="0" animBg="1"/>
      <p:bldP spid="30" grpId="0" animBg="1"/>
      <p:bldP spid="33" grpId="0" animBg="1"/>
      <p:bldP spid="35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7A64312F-420C-4865-A846-51120786B0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38363" y="3224140"/>
            <a:ext cx="532018" cy="12497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182E67F-DA22-4AAD-94D2-B8D6EA92CB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H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21FDDA1-1685-4ADD-AFF2-E85A92AA7F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4440" y="3136582"/>
            <a:ext cx="2103120" cy="58483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41C6CE4-6976-4672-8829-10AF72777C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96255" y="3161812"/>
            <a:ext cx="359685" cy="450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388564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529B03-CA82-442D-B76A-3DD2FD5B36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 Signal Registration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F4C951B-48F9-4317-9993-5E6525130CF7}"/>
              </a:ext>
            </a:extLst>
          </p:cNvPr>
          <p:cNvSpPr txBox="1"/>
          <p:nvPr/>
        </p:nvSpPr>
        <p:spPr>
          <a:xfrm>
            <a:off x="838200" y="1505673"/>
            <a:ext cx="10515600" cy="517064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IGGER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MeasurementWithSignalNameInsteadOfInsertTrigger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WithSignalNam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b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TEAD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COUN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1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Insert missing signal name into Signal table</a:t>
            </a:r>
            <a:endParaRPr lang="en-US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 </a:t>
            </a:r>
          </a:p>
          <a:p>
            <a:r>
              <a:rPr lang="en-CH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CH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viceId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and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CH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11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STINCT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viceId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and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NSERTED</a:t>
            </a:r>
          </a:p>
          <a:p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ISTS</a:t>
            </a:r>
            <a:r>
              <a:rPr lang="en-US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X'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 </a:t>
            </a:r>
            <a:r>
              <a:rPr lang="en-US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 </a:t>
            </a:r>
            <a:r>
              <a:rPr lang="en-US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NSERTED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en-US" sz="11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1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Copy events to regular Measurement ingest facade</a:t>
            </a:r>
            <a:endParaRPr lang="en-US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</a:t>
            </a:r>
          </a:p>
          <a:p>
            <a:r>
              <a:rPr lang="en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NSERTED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</a:t>
            </a:r>
          </a:p>
          <a:p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NER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  </a:t>
            </a:r>
            <a:r>
              <a:rPr lang="en-US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 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O</a:t>
            </a:r>
          </a:p>
        </p:txBody>
      </p:sp>
    </p:spTree>
    <p:extLst>
      <p:ext uri="{BB962C8B-B14F-4D97-AF65-F5344CB8AC3E}">
        <p14:creationId xmlns:p14="http://schemas.microsoft.com/office/powerpoint/2010/main" val="33122399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2FEEE6-5305-42D8-80EF-A21F7B9979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le Duplicate Value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134438-4822-4127-BC18-9CF60A14643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/>
              <a:t>Event Delivery Guarantees (Azure Stream Analytics)</a:t>
            </a:r>
          </a:p>
          <a:p>
            <a:r>
              <a:rPr lang="de-CH" sz="2400" dirty="0" err="1"/>
              <a:t>Exactly-once</a:t>
            </a:r>
            <a:r>
              <a:rPr lang="de-CH" sz="2400" dirty="0"/>
              <a:t> </a:t>
            </a:r>
            <a:r>
              <a:rPr lang="de-CH" sz="2400" dirty="0" err="1"/>
              <a:t>processing</a:t>
            </a:r>
            <a:endParaRPr lang="de-CH" sz="2400" dirty="0"/>
          </a:p>
          <a:p>
            <a:pPr lvl="1"/>
            <a:r>
              <a:rPr lang="en-US" sz="2000" dirty="0"/>
              <a:t>Azure Stream Analytics guarantees exactly once processing.</a:t>
            </a:r>
          </a:p>
          <a:p>
            <a:r>
              <a:rPr lang="de-CH" sz="2400" dirty="0" err="1"/>
              <a:t>Exactly-once</a:t>
            </a:r>
            <a:r>
              <a:rPr lang="de-CH" sz="2400" dirty="0"/>
              <a:t> </a:t>
            </a:r>
            <a:r>
              <a:rPr lang="de-CH" sz="2400" dirty="0" err="1"/>
              <a:t>delivery</a:t>
            </a:r>
            <a:endParaRPr lang="de-CH" sz="2400" dirty="0"/>
          </a:p>
          <a:p>
            <a:pPr lvl="1"/>
            <a:r>
              <a:rPr lang="en-US" sz="20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Azure Stream Analytics </a:t>
            </a:r>
            <a:r>
              <a:rPr lang="en-US" sz="2000" b="0" i="0" dirty="0" err="1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guarantes</a:t>
            </a:r>
            <a:r>
              <a:rPr lang="en-US" sz="20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sz="2000" b="1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at-least-once delivery </a:t>
            </a:r>
            <a:r>
              <a:rPr lang="en-US" sz="20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to output sinks, which guarantees that all results are outputted, but duplicate results may occur. </a:t>
            </a:r>
            <a:br>
              <a:rPr lang="en-US" sz="20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</a:br>
            <a:r>
              <a:rPr lang="en-US" sz="20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However exactly-once delivery may be achieved with several outputs such as Cosmos DB or SQL</a:t>
            </a:r>
          </a:p>
          <a:p>
            <a:pPr lvl="2"/>
            <a:r>
              <a:rPr lang="en-US" sz="1600" dirty="0"/>
              <a:t>The Azure instance is upgraded while the job is running</a:t>
            </a:r>
          </a:p>
          <a:p>
            <a:pPr lvl="2"/>
            <a:r>
              <a:rPr lang="en-US" sz="1600" dirty="0"/>
              <a:t>The Stream Analytics job is upgraded or an issue occurs with connectivity or reliability to the job output</a:t>
            </a:r>
          </a:p>
          <a:p>
            <a:pPr lvl="2"/>
            <a:r>
              <a:rPr lang="en-US" sz="1600" dirty="0"/>
              <a:t>The Azure instance running the job has an outage</a:t>
            </a:r>
          </a:p>
          <a:p>
            <a:pPr lvl="2"/>
            <a:r>
              <a:rPr lang="en-US" sz="1600" dirty="0"/>
              <a:t>Stream Analytics job is started with the when last stopped option</a:t>
            </a:r>
            <a:endParaRPr lang="en-CH" sz="1600" dirty="0"/>
          </a:p>
        </p:txBody>
      </p:sp>
    </p:spTree>
    <p:extLst>
      <p:ext uri="{BB962C8B-B14F-4D97-AF65-F5344CB8AC3E}">
        <p14:creationId xmlns:p14="http://schemas.microsoft.com/office/powerpoint/2010/main" val="61307291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2FEEE6-5305-42D8-80EF-A21F7B9979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le Duplicate Values - 2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134438-4822-4127-BC18-9CF60A14643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/>
              <a:t>Cosmos DB</a:t>
            </a:r>
          </a:p>
          <a:p>
            <a:r>
              <a:rPr lang="en-US" sz="1600" dirty="0"/>
              <a:t>Using Cosmos DB, Azure Stream Analytics guarantees exactly-once delivery. Since Azure Stream Analytics uses </a:t>
            </a:r>
            <a:r>
              <a:rPr lang="en-US" sz="1600" dirty="0" err="1"/>
              <a:t>upsert</a:t>
            </a:r>
            <a:r>
              <a:rPr lang="en-US" sz="1600" dirty="0"/>
              <a:t>, no action is needed by the user. See more information on Azure Stream Analytics output to </a:t>
            </a:r>
            <a:r>
              <a:rPr lang="en-US" sz="1600" dirty="0" err="1"/>
              <a:t>CosmosDB</a:t>
            </a:r>
            <a:r>
              <a:rPr lang="en-US" sz="1600" dirty="0"/>
              <a:t>.</a:t>
            </a:r>
          </a:p>
          <a:p>
            <a:endParaRPr lang="en-US" sz="1600" dirty="0"/>
          </a:p>
          <a:p>
            <a:pPr marL="0" indent="0">
              <a:buNone/>
            </a:pPr>
            <a:r>
              <a:rPr lang="en-US" sz="2400" dirty="0"/>
              <a:t>SQL</a:t>
            </a:r>
          </a:p>
          <a:p>
            <a:r>
              <a:rPr lang="en-US" sz="1600" dirty="0"/>
              <a:t>When using SQL output, users can achieve exactly-once delivery if the following requirements are met:</a:t>
            </a:r>
          </a:p>
          <a:p>
            <a:pPr lvl="1"/>
            <a:r>
              <a:rPr lang="en-US" sz="1200" dirty="0"/>
              <a:t>all output streaming events have a natural key, i.e. are uniquely identifiable either by a field or a combination of fields.</a:t>
            </a:r>
          </a:p>
          <a:p>
            <a:pPr lvl="1"/>
            <a:r>
              <a:rPr lang="en-US" sz="1200" dirty="0"/>
              <a:t>the output SQL table has a unique constraint (or primary key) created using the natural key of the output events.</a:t>
            </a:r>
          </a:p>
          <a:p>
            <a:r>
              <a:rPr lang="en-US" sz="1600" dirty="0"/>
              <a:t>This is sufficient to avoid duplicates because the SQL output honors any constraints placed on the table by skipping any events that cause a unique constraint violation.</a:t>
            </a:r>
            <a:endParaRPr lang="en-CH" sz="1600" dirty="0"/>
          </a:p>
        </p:txBody>
      </p:sp>
      <p:sp>
        <p:nvSpPr>
          <p:cNvPr id="5" name="Callout: Bent Line 4">
            <a:extLst>
              <a:ext uri="{FF2B5EF4-FFF2-40B4-BE49-F238E27FC236}">
                <a16:creationId xmlns:a16="http://schemas.microsoft.com/office/drawing/2014/main" id="{50566DCB-5394-482C-A8E0-852280648779}"/>
              </a:ext>
            </a:extLst>
          </p:cNvPr>
          <p:cNvSpPr/>
          <p:nvPr/>
        </p:nvSpPr>
        <p:spPr>
          <a:xfrm>
            <a:off x="5066607" y="5149173"/>
            <a:ext cx="3769822" cy="1162727"/>
          </a:xfrm>
          <a:prstGeom prst="borderCallout2">
            <a:avLst>
              <a:gd name="adj1" fmla="val 14106"/>
              <a:gd name="adj2" fmla="val 104169"/>
              <a:gd name="adj3" fmla="val 11319"/>
              <a:gd name="adj4" fmla="val 134028"/>
              <a:gd name="adj5" fmla="val -35519"/>
              <a:gd name="adj6" fmla="val 13911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 duplicate delivery of events</a:t>
            </a:r>
          </a:p>
          <a:p>
            <a:pPr algn="ctr"/>
            <a:r>
              <a:rPr lang="en-US" sz="1100" dirty="0"/>
              <a:t>(Keep them for quality control)</a:t>
            </a:r>
          </a:p>
          <a:p>
            <a:pPr algn="ctr"/>
            <a:r>
              <a:rPr lang="en-US" dirty="0"/>
              <a:t>Just skipping means the fact that duplicates occurred disappears</a:t>
            </a:r>
          </a:p>
        </p:txBody>
      </p:sp>
    </p:spTree>
    <p:extLst>
      <p:ext uri="{BB962C8B-B14F-4D97-AF65-F5344CB8AC3E}">
        <p14:creationId xmlns:p14="http://schemas.microsoft.com/office/powerpoint/2010/main" val="29243851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D02940-B6DD-487B-8583-8B76159ED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le Duplicate Values - 4</a:t>
            </a:r>
          </a:p>
        </p:txBody>
      </p:sp>
      <p:sp>
        <p:nvSpPr>
          <p:cNvPr id="4" name="Flowchart: Magnetic Disk 3">
            <a:extLst>
              <a:ext uri="{FF2B5EF4-FFF2-40B4-BE49-F238E27FC236}">
                <a16:creationId xmlns:a16="http://schemas.microsoft.com/office/drawing/2014/main" id="{4FA36A61-2F59-4FE6-865E-3C04B4F1F559}"/>
              </a:ext>
            </a:extLst>
          </p:cNvPr>
          <p:cNvSpPr/>
          <p:nvPr/>
        </p:nvSpPr>
        <p:spPr>
          <a:xfrm>
            <a:off x="1511870" y="1421844"/>
            <a:ext cx="10379110" cy="5337683"/>
          </a:xfrm>
          <a:prstGeom prst="flowChartMagneticDisk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71EB808-A8DE-4F25-901A-69EF93895A4C}"/>
              </a:ext>
            </a:extLst>
          </p:cNvPr>
          <p:cNvCxnSpPr>
            <a:cxnSpLocks/>
          </p:cNvCxnSpPr>
          <p:nvPr/>
        </p:nvCxnSpPr>
        <p:spPr>
          <a:xfrm>
            <a:off x="4858377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EA6C428-F9E0-4C5F-98AD-1D3FCA2D65D1}"/>
              </a:ext>
            </a:extLst>
          </p:cNvPr>
          <p:cNvCxnSpPr>
            <a:cxnSpLocks/>
          </p:cNvCxnSpPr>
          <p:nvPr/>
        </p:nvCxnSpPr>
        <p:spPr>
          <a:xfrm>
            <a:off x="8542772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C8DC9DA-BD43-421D-88F8-45836804F1E5}"/>
              </a:ext>
            </a:extLst>
          </p:cNvPr>
          <p:cNvSpPr txBox="1"/>
          <p:nvPr/>
        </p:nvSpPr>
        <p:spPr>
          <a:xfrm>
            <a:off x="2451797" y="1792403"/>
            <a:ext cx="7508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ges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8A31ED-B6F9-4F1D-B961-0891206C437A}"/>
              </a:ext>
            </a:extLst>
          </p:cNvPr>
          <p:cNvSpPr txBox="1"/>
          <p:nvPr/>
        </p:nvSpPr>
        <p:spPr>
          <a:xfrm>
            <a:off x="6342444" y="1792403"/>
            <a:ext cx="6224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re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8A7DB9E9-F180-424A-AC91-4E7E3F11897E}"/>
              </a:ext>
            </a:extLst>
          </p:cNvPr>
          <p:cNvSpPr/>
          <p:nvPr/>
        </p:nvSpPr>
        <p:spPr>
          <a:xfrm>
            <a:off x="1044781" y="2625516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Picture 2" descr="Microsoft BI Tools: Azure Stream Analytics">
            <a:extLst>
              <a:ext uri="{FF2B5EF4-FFF2-40B4-BE49-F238E27FC236}">
                <a16:creationId xmlns:a16="http://schemas.microsoft.com/office/drawing/2014/main" id="{A16FF947-FC42-4A4F-9109-4E54F4F18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972" y="3690994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762EDC4B-80DA-4236-B094-C4CF49C8E0A9}"/>
              </a:ext>
            </a:extLst>
          </p:cNvPr>
          <p:cNvSpPr txBox="1"/>
          <p:nvPr/>
        </p:nvSpPr>
        <p:spPr>
          <a:xfrm>
            <a:off x="142658" y="4213488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B122783-3F72-400D-ACFB-48A495F8EA5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149" t="2175" r="5258" b="4129"/>
          <a:stretch/>
        </p:blipFill>
        <p:spPr>
          <a:xfrm>
            <a:off x="6096000" y="2263450"/>
            <a:ext cx="1440619" cy="223063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1025047B-F8DA-482E-91BC-400E2CA8832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54575" y="2552154"/>
            <a:ext cx="2009790" cy="781056"/>
          </a:xfrm>
          <a:prstGeom prst="rect">
            <a:avLst/>
          </a:prstGeom>
        </p:spPr>
      </p:pic>
      <p:sp>
        <p:nvSpPr>
          <p:cNvPr id="25" name="Callout: Bent Line 24">
            <a:extLst>
              <a:ext uri="{FF2B5EF4-FFF2-40B4-BE49-F238E27FC236}">
                <a16:creationId xmlns:a16="http://schemas.microsoft.com/office/drawing/2014/main" id="{DA427AF3-ED25-4AE0-8A28-CAC713F38953}"/>
              </a:ext>
            </a:extLst>
          </p:cNvPr>
          <p:cNvSpPr/>
          <p:nvPr/>
        </p:nvSpPr>
        <p:spPr>
          <a:xfrm>
            <a:off x="4078603" y="1505825"/>
            <a:ext cx="1736709" cy="544712"/>
          </a:xfrm>
          <a:prstGeom prst="borderCallout2">
            <a:avLst>
              <a:gd name="adj1" fmla="val 110063"/>
              <a:gd name="adj2" fmla="val 71223"/>
              <a:gd name="adj3" fmla="val 155259"/>
              <a:gd name="adj4" fmla="val 71278"/>
              <a:gd name="adj5" fmla="val 255737"/>
              <a:gd name="adj6" fmla="val 48253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tead of </a:t>
            </a:r>
            <a:b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ERT Trigger</a:t>
            </a:r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2" name="Arrow: Curved Up 31">
            <a:extLst>
              <a:ext uri="{FF2B5EF4-FFF2-40B4-BE49-F238E27FC236}">
                <a16:creationId xmlns:a16="http://schemas.microsoft.com/office/drawing/2014/main" id="{F1677084-6681-4425-B9FA-2D2BF0A04990}"/>
              </a:ext>
            </a:extLst>
          </p:cNvPr>
          <p:cNvSpPr/>
          <p:nvPr/>
        </p:nvSpPr>
        <p:spPr>
          <a:xfrm rot="836387" flipV="1">
            <a:off x="3416946" y="2697193"/>
            <a:ext cx="3218656" cy="630989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Callout: Bent Line 35">
            <a:extLst>
              <a:ext uri="{FF2B5EF4-FFF2-40B4-BE49-F238E27FC236}">
                <a16:creationId xmlns:a16="http://schemas.microsoft.com/office/drawing/2014/main" id="{A225D6D6-359C-4C5E-A768-B39951D8137D}"/>
              </a:ext>
            </a:extLst>
          </p:cNvPr>
          <p:cNvSpPr/>
          <p:nvPr/>
        </p:nvSpPr>
        <p:spPr>
          <a:xfrm>
            <a:off x="2214799" y="5734522"/>
            <a:ext cx="5861974" cy="574266"/>
          </a:xfrm>
          <a:prstGeom prst="borderCallout2">
            <a:avLst>
              <a:gd name="adj1" fmla="val -4642"/>
              <a:gd name="adj2" fmla="val 52834"/>
              <a:gd name="adj3" fmla="val -360087"/>
              <a:gd name="adj4" fmla="val 53221"/>
              <a:gd name="adj5" fmla="val -445116"/>
              <a:gd name="adj6" fmla="val 46588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Tx/>
              <a:buChar char="-"/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tect duplicate events and stores them in exception table [Core].[</a:t>
            </a:r>
            <a:r>
              <a:rPr lang="en-US" sz="1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easurementDuplicateKey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]</a:t>
            </a:r>
          </a:p>
          <a:p>
            <a:pPr marL="171450" indent="-171450">
              <a:buFontTx/>
              <a:buChar char="-"/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alculates Partition Key Attribute and stores new events in [Core].[Measurement] </a:t>
            </a:r>
          </a:p>
        </p:txBody>
      </p:sp>
      <p:sp>
        <p:nvSpPr>
          <p:cNvPr id="37" name="Arrow: Curved Up 36">
            <a:extLst>
              <a:ext uri="{FF2B5EF4-FFF2-40B4-BE49-F238E27FC236}">
                <a16:creationId xmlns:a16="http://schemas.microsoft.com/office/drawing/2014/main" id="{586C49D1-7769-4A51-BA80-A076ACAF2302}"/>
              </a:ext>
            </a:extLst>
          </p:cNvPr>
          <p:cNvSpPr/>
          <p:nvPr/>
        </p:nvSpPr>
        <p:spPr>
          <a:xfrm rot="1735178" flipV="1">
            <a:off x="3380225" y="3293995"/>
            <a:ext cx="3171471" cy="630989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58FC333A-4815-40D8-99BF-6557A04C3394}"/>
              </a:ext>
            </a:extLst>
          </p:cNvPr>
          <p:cNvSpPr/>
          <p:nvPr/>
        </p:nvSpPr>
        <p:spPr>
          <a:xfrm>
            <a:off x="4772867" y="2552154"/>
            <a:ext cx="150538" cy="726505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876F131-8F1F-4245-98DB-7EFAF6E009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96381" y="4599951"/>
            <a:ext cx="1785951" cy="1028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56119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36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F24AE8-1CFE-419A-83EA-558776E0E9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le Duplicate Values - 5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32FC760-CF11-4AF4-AFE9-67D16287A643}"/>
              </a:ext>
            </a:extLst>
          </p:cNvPr>
          <p:cNvSpPr txBox="1"/>
          <p:nvPr/>
        </p:nvSpPr>
        <p:spPr>
          <a:xfrm>
            <a:off x="951951" y="1429657"/>
            <a:ext cx="10515600" cy="455509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IGGER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MeasurementInsteadOfInsertTrigger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TEA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COUN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This </a:t>
            </a:r>
            <a:r>
              <a:rPr lang="de-CH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de-CH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Store measurements that already exist in the duplicate key table.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DuplicateKey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en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dA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i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12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Calculate partition Key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i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DATE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NSERTED </a:t>
            </a:r>
            <a:r>
              <a:rPr lang="de-CH" sz="10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NER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lMeasuremen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0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i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12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;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</a:t>
            </a:r>
            <a:r>
              <a:rPr lang="de-CH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able</a:t>
            </a:r>
            <a:r>
              <a:rPr lang="de-CH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ition</a:t>
            </a:r>
            <a:r>
              <a:rPr lang="de-CH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limination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...</a:t>
            </a:r>
            <a:endParaRPr lang="en-CH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27883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F24AE8-1CFE-419A-83EA-558776E0E9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le Duplicate Values – 5a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32FC760-CF11-4AF4-AFE9-67D16287A643}"/>
              </a:ext>
            </a:extLst>
          </p:cNvPr>
          <p:cNvSpPr txBox="1"/>
          <p:nvPr/>
        </p:nvSpPr>
        <p:spPr>
          <a:xfrm>
            <a:off x="951951" y="1429657"/>
            <a:ext cx="10515600" cy="486287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nd </a:t>
            </a:r>
            <a:r>
              <a:rPr lang="de-CH" sz="10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TRIGGER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MeasurementInsteadOfInsertTrigger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endParaRPr lang="de-CH" sz="1000" dirty="0">
              <a:solidFill>
                <a:srgbClr val="80808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00" dirty="0">
              <a:solidFill>
                <a:srgbClr val="80808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  <a:b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Insert duplicate records if the happen in one batch of data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DuplicateKey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dA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INSERTED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INSERTED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12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Calculate partition Key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INSERTED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DATE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INSERTED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N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              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UN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*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de-CH" sz="10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c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NSERTED </a:t>
            </a:r>
            <a:r>
              <a:rPr lang="de-CH" sz="10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OUP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AVING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UNT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*)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UPLICATE_ROWS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INSERTED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DUPLICATE_ROWS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INSERTED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DUPLICATE_ROWS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41875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3CE15D-9003-4127-A1BA-8AF05B7AC7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995"/>
            <a:ext cx="10515600" cy="1325563"/>
          </a:xfrm>
        </p:spPr>
        <p:txBody>
          <a:bodyPr/>
          <a:lstStyle/>
          <a:p>
            <a:r>
              <a:rPr lang="en-US" dirty="0"/>
              <a:t>Storage Details – Basic Usage</a:t>
            </a:r>
            <a:endParaRPr lang="en-CH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31D5DEA-784A-447E-BEBA-F78BD155034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95763"/>
          <a:stretch/>
        </p:blipFill>
        <p:spPr>
          <a:xfrm>
            <a:off x="961918" y="3068349"/>
            <a:ext cx="2452705" cy="113595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2370651-90EE-4A0B-85CD-D6F4C88A044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084" b="58296"/>
          <a:stretch/>
        </p:blipFill>
        <p:spPr>
          <a:xfrm>
            <a:off x="961920" y="3231149"/>
            <a:ext cx="2452705" cy="100871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58DBD4A-BE65-4F16-A020-2029E827458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2444" b="14430"/>
          <a:stretch/>
        </p:blipFill>
        <p:spPr>
          <a:xfrm>
            <a:off x="961919" y="4358769"/>
            <a:ext cx="2452705" cy="115632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9D7588B-654D-4C93-8BC1-545C6A10A70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5570" b="-98"/>
          <a:stretch/>
        </p:blipFill>
        <p:spPr>
          <a:xfrm>
            <a:off x="961918" y="5577352"/>
            <a:ext cx="2452705" cy="38954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E4DF0ABA-7FD7-4DC0-B6BD-C43903A787E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237" b="56308"/>
          <a:stretch/>
        </p:blipFill>
        <p:spPr>
          <a:xfrm>
            <a:off x="4935190" y="3190363"/>
            <a:ext cx="2462231" cy="105791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08681179-346B-4483-8B0F-7AA2AAC05D6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95763"/>
          <a:stretch/>
        </p:blipFill>
        <p:spPr>
          <a:xfrm>
            <a:off x="4935190" y="3027563"/>
            <a:ext cx="2452705" cy="113595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FEC2C5A1-E09A-4865-B30C-CD36F679A86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3055" b="667"/>
          <a:stretch/>
        </p:blipFill>
        <p:spPr>
          <a:xfrm>
            <a:off x="4925664" y="4417144"/>
            <a:ext cx="2462231" cy="1508965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34D90425-65A8-4D1C-AABC-1153F976C041}"/>
              </a:ext>
            </a:extLst>
          </p:cNvPr>
          <p:cNvSpPr txBox="1"/>
          <p:nvPr/>
        </p:nvSpPr>
        <p:spPr>
          <a:xfrm>
            <a:off x="869287" y="1412301"/>
            <a:ext cx="263796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oT data arrives in batch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“ordered by” Ts</a:t>
            </a:r>
            <a:endParaRPr lang="en-CH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44635D2-EA0F-4CD9-BC20-B8AF1A270DDE}"/>
              </a:ext>
            </a:extLst>
          </p:cNvPr>
          <p:cNvSpPr txBox="1"/>
          <p:nvPr/>
        </p:nvSpPr>
        <p:spPr>
          <a:xfrm>
            <a:off x="4679313" y="1399558"/>
            <a:ext cx="397641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he typical query for Time Series data i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 </a:t>
            </a:r>
            <a:endParaRPr lang="en-CH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60B4F50-E4D5-4E52-8E87-AE46692CDA73}"/>
              </a:ext>
            </a:extLst>
          </p:cNvPr>
          <p:cNvSpPr txBox="1"/>
          <p:nvPr/>
        </p:nvSpPr>
        <p:spPr>
          <a:xfrm>
            <a:off x="4925664" y="1709458"/>
            <a:ext cx="6797518" cy="101566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2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</a:t>
            </a:r>
          </a:p>
          <a:p>
            <a:r>
              <a:rPr lang="de-CH" sz="12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5</a:t>
            </a: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  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etween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2021-12-08 16:30:05'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2021-12-08 16:30:10.876'</a:t>
            </a:r>
            <a:endParaRPr lang="en-US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2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der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TS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19FCDB7-A2C4-4ED7-BA4E-B95EBD335F19}"/>
              </a:ext>
            </a:extLst>
          </p:cNvPr>
          <p:cNvSpPr txBox="1"/>
          <p:nvPr/>
        </p:nvSpPr>
        <p:spPr>
          <a:xfrm>
            <a:off x="7812379" y="3039530"/>
            <a:ext cx="3910803" cy="13849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TER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 </a:t>
            </a: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DD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K_Core_Measuremen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b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IMAR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STERED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BB36059E-92E4-4FD9-BAEF-CDFCAE3F69B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99617" y="15974"/>
            <a:ext cx="2292383" cy="1379075"/>
          </a:xfrm>
          <a:prstGeom prst="rect">
            <a:avLst/>
          </a:prstGeom>
        </p:spPr>
      </p:pic>
      <p:sp>
        <p:nvSpPr>
          <p:cNvPr id="32" name="Callout: Bent Line 31">
            <a:extLst>
              <a:ext uri="{FF2B5EF4-FFF2-40B4-BE49-F238E27FC236}">
                <a16:creationId xmlns:a16="http://schemas.microsoft.com/office/drawing/2014/main" id="{71BD74F9-0DAD-4933-9DD3-866EE9AB66CB}"/>
              </a:ext>
            </a:extLst>
          </p:cNvPr>
          <p:cNvSpPr/>
          <p:nvPr/>
        </p:nvSpPr>
        <p:spPr>
          <a:xfrm>
            <a:off x="961917" y="2248909"/>
            <a:ext cx="2452705" cy="646331"/>
          </a:xfrm>
          <a:prstGeom prst="borderCallout2">
            <a:avLst>
              <a:gd name="adj1" fmla="val 48999"/>
              <a:gd name="adj2" fmla="val 104503"/>
              <a:gd name="adj3" fmla="val 51287"/>
              <a:gd name="adj4" fmla="val 131353"/>
              <a:gd name="adj5" fmla="val 123086"/>
              <a:gd name="adj6" fmla="val 277373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The index will be extremely fragmented</a:t>
            </a:r>
          </a:p>
          <a:p>
            <a:pPr algn="ctr"/>
            <a:r>
              <a:rPr lang="en-US" sz="1400" dirty="0"/>
              <a:t>after a few insert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C06AA91-3823-4EBE-8166-277A859B1FFD}"/>
              </a:ext>
            </a:extLst>
          </p:cNvPr>
          <p:cNvSpPr/>
          <p:nvPr/>
        </p:nvSpPr>
        <p:spPr>
          <a:xfrm>
            <a:off x="8509455" y="5100399"/>
            <a:ext cx="1007686" cy="241926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oday -2</a:t>
            </a:r>
            <a:endParaRPr lang="en-CH" sz="1200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EB33A36-5581-433D-8265-DAF4AB257D7D}"/>
              </a:ext>
            </a:extLst>
          </p:cNvPr>
          <p:cNvSpPr/>
          <p:nvPr/>
        </p:nvSpPr>
        <p:spPr>
          <a:xfrm>
            <a:off x="8509455" y="5394133"/>
            <a:ext cx="1007686" cy="241926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oday -1</a:t>
            </a:r>
            <a:endParaRPr lang="en-CH" sz="1200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C9695629-32BD-4E82-91CE-F845ED9D5F98}"/>
              </a:ext>
            </a:extLst>
          </p:cNvPr>
          <p:cNvSpPr/>
          <p:nvPr/>
        </p:nvSpPr>
        <p:spPr>
          <a:xfrm>
            <a:off x="8515279" y="5687867"/>
            <a:ext cx="1007686" cy="241926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oday</a:t>
            </a:r>
            <a:endParaRPr lang="en-CH" sz="1200" dirty="0"/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id="{495D2092-958C-45B1-91F3-791928FA05E6}"/>
              </a:ext>
            </a:extLst>
          </p:cNvPr>
          <p:cNvSpPr/>
          <p:nvPr/>
        </p:nvSpPr>
        <p:spPr>
          <a:xfrm>
            <a:off x="7688252" y="5645221"/>
            <a:ext cx="717667" cy="34389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New data</a:t>
            </a:r>
            <a:endParaRPr lang="en-CH" sz="8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B388C7F-DD2A-45E0-8360-5B44089B56E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16822" y="5406154"/>
            <a:ext cx="189097" cy="12123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B3AEE9E-1AA1-4539-9408-CF82E3E819D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80436" y="5181135"/>
            <a:ext cx="125483" cy="8045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08E3788-4292-4C6D-B230-E7BA71F88FF6}"/>
              </a:ext>
            </a:extLst>
          </p:cNvPr>
          <p:cNvSpPr txBox="1"/>
          <p:nvPr/>
        </p:nvSpPr>
        <p:spPr>
          <a:xfrm>
            <a:off x="8333464" y="4784790"/>
            <a:ext cx="135966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/>
              <a:t>[Core].[Measurement]</a:t>
            </a:r>
            <a:endParaRPr lang="en-CH" sz="10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7A37028-13F7-49B4-B3EF-B3C762450CC0}"/>
              </a:ext>
            </a:extLst>
          </p:cNvPr>
          <p:cNvSpPr/>
          <p:nvPr/>
        </p:nvSpPr>
        <p:spPr>
          <a:xfrm>
            <a:off x="7726029" y="6482284"/>
            <a:ext cx="679889" cy="132443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/>
              <a:t>Fragmented</a:t>
            </a:r>
            <a:endParaRPr lang="en-CH" sz="6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F060607-2D34-4ADF-B072-C7A62B31380A}"/>
              </a:ext>
            </a:extLst>
          </p:cNvPr>
          <p:cNvSpPr/>
          <p:nvPr/>
        </p:nvSpPr>
        <p:spPr>
          <a:xfrm>
            <a:off x="7726029" y="6651562"/>
            <a:ext cx="679889" cy="132443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/>
              <a:t>Not fragmented</a:t>
            </a:r>
            <a:endParaRPr lang="en-CH" sz="6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A9E5EC2-6DB3-484E-8626-CC2A28BA12DB}"/>
              </a:ext>
            </a:extLst>
          </p:cNvPr>
          <p:cNvSpPr/>
          <p:nvPr/>
        </p:nvSpPr>
        <p:spPr>
          <a:xfrm>
            <a:off x="10653838" y="5096715"/>
            <a:ext cx="1007686" cy="24192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oday -2</a:t>
            </a:r>
            <a:endParaRPr lang="en-CH" sz="12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757474D-9169-4FFF-9810-BC6C1BBA472D}"/>
              </a:ext>
            </a:extLst>
          </p:cNvPr>
          <p:cNvSpPr/>
          <p:nvPr/>
        </p:nvSpPr>
        <p:spPr>
          <a:xfrm>
            <a:off x="10653838" y="5390449"/>
            <a:ext cx="1007686" cy="24192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oday -1</a:t>
            </a:r>
            <a:endParaRPr lang="en-CH" sz="12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9CBAB93-9C43-49A0-98EA-24198A562AC1}"/>
              </a:ext>
            </a:extLst>
          </p:cNvPr>
          <p:cNvSpPr/>
          <p:nvPr/>
        </p:nvSpPr>
        <p:spPr>
          <a:xfrm>
            <a:off x="10653838" y="5684183"/>
            <a:ext cx="1007686" cy="241926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oday</a:t>
            </a:r>
            <a:endParaRPr lang="en-CH" sz="1200" dirty="0"/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52B44A05-0DF9-432C-96FF-A4DE3AC4B39E}"/>
              </a:ext>
            </a:extLst>
          </p:cNvPr>
          <p:cNvSpPr/>
          <p:nvPr/>
        </p:nvSpPr>
        <p:spPr>
          <a:xfrm>
            <a:off x="9832635" y="5641537"/>
            <a:ext cx="717667" cy="34389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New data</a:t>
            </a:r>
            <a:endParaRPr lang="en-CH" sz="800" dirty="0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EDC7E3D6-2034-4981-984C-27F63CAD4EC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61205" y="5402470"/>
            <a:ext cx="189097" cy="121239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5278A1CE-E149-4ED2-863C-F9746863B29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24819" y="5177451"/>
            <a:ext cx="125483" cy="80453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0106B01C-6D96-4275-B20B-96D92DCE7D05}"/>
              </a:ext>
            </a:extLst>
          </p:cNvPr>
          <p:cNvSpPr txBox="1"/>
          <p:nvPr/>
        </p:nvSpPr>
        <p:spPr>
          <a:xfrm>
            <a:off x="10455753" y="4784790"/>
            <a:ext cx="135966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/>
              <a:t>[Core].[Measurement]</a:t>
            </a:r>
            <a:endParaRPr lang="en-CH" sz="1000" dirty="0"/>
          </a:p>
        </p:txBody>
      </p:sp>
      <p:sp>
        <p:nvSpPr>
          <p:cNvPr id="43" name="Arrow: Curved Up 42">
            <a:extLst>
              <a:ext uri="{FF2B5EF4-FFF2-40B4-BE49-F238E27FC236}">
                <a16:creationId xmlns:a16="http://schemas.microsoft.com/office/drawing/2014/main" id="{97C90627-B745-42E9-93B3-CFF7F84713AB}"/>
              </a:ext>
            </a:extLst>
          </p:cNvPr>
          <p:cNvSpPr/>
          <p:nvPr/>
        </p:nvSpPr>
        <p:spPr>
          <a:xfrm>
            <a:off x="9053391" y="6012641"/>
            <a:ext cx="2178579" cy="492646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AE5AE67-427C-4B08-91EF-34557F56BA72}"/>
              </a:ext>
            </a:extLst>
          </p:cNvPr>
          <p:cNvSpPr txBox="1"/>
          <p:nvPr/>
        </p:nvSpPr>
        <p:spPr>
          <a:xfrm>
            <a:off x="8710236" y="6200843"/>
            <a:ext cx="2864887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CH" sz="1000" dirty="0">
                <a:solidFill>
                  <a:srgbClr val="0000FF"/>
                </a:solidFill>
                <a:latin typeface="Consolas" panose="020B0609020204030204" pitchFamily="49" charset="0"/>
              </a:rPr>
              <a:t>EXEC</a:t>
            </a:r>
            <a:r>
              <a:rPr lang="de-CH" sz="1000" dirty="0">
                <a:solidFill>
                  <a:srgbClr val="000000"/>
                </a:solidFill>
                <a:latin typeface="Consolas" panose="020B0609020204030204" pitchFamily="49" charset="0"/>
              </a:rPr>
              <a:t> [Core]</a:t>
            </a:r>
            <a:r>
              <a:rPr lang="de-CH" sz="1000" dirty="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RebuildFragmentedIndexes</a:t>
            </a:r>
            <a:r>
              <a:rPr lang="de-CH" sz="10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endParaRPr lang="en-CH" sz="400" dirty="0"/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E4678F1F-0E90-4796-B536-CCC12C23679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006217" y="6405284"/>
            <a:ext cx="354988" cy="418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73645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32" grpId="0" animBg="1"/>
      <p:bldP spid="33" grpId="0" animBg="1"/>
      <p:bldP spid="35" grpId="0" animBg="1"/>
      <p:bldP spid="37" grpId="0" animBg="1"/>
      <p:bldP spid="3" grpId="0" animBg="1"/>
      <p:bldP spid="10" grpId="0"/>
      <p:bldP spid="11" grpId="0" animBg="1"/>
      <p:bldP spid="12" grpId="0" animBg="1"/>
      <p:bldP spid="14" grpId="0" animBg="1"/>
      <p:bldP spid="16" grpId="0" animBg="1"/>
      <p:bldP spid="18" grpId="0" animBg="1"/>
      <p:bldP spid="20" grpId="0" animBg="1"/>
      <p:bldP spid="42" grpId="0"/>
      <p:bldP spid="43" grpId="0" animBg="1"/>
      <p:bldP spid="45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3CE15D-9003-4127-A1BA-8AF05B7AC7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995"/>
            <a:ext cx="10515600" cy="1325563"/>
          </a:xfrm>
        </p:spPr>
        <p:txBody>
          <a:bodyPr/>
          <a:lstStyle/>
          <a:p>
            <a:r>
              <a:rPr lang="en-US" dirty="0"/>
              <a:t>Storage Details – Basic Usage -2</a:t>
            </a:r>
            <a:endParaRPr lang="en-CH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4D90425-65A8-4D1C-AABC-1153F976C041}"/>
              </a:ext>
            </a:extLst>
          </p:cNvPr>
          <p:cNvSpPr txBox="1"/>
          <p:nvPr/>
        </p:nvSpPr>
        <p:spPr>
          <a:xfrm>
            <a:off x="838200" y="1412301"/>
            <a:ext cx="87717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ay Partition Objects 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BB36059E-92E4-4FD9-BAEF-CDFCAE3F69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99617" y="15974"/>
            <a:ext cx="2292383" cy="1379075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70395DE2-5240-4A1F-B807-3C43D6795BFE}"/>
              </a:ext>
            </a:extLst>
          </p:cNvPr>
          <p:cNvSpPr txBox="1"/>
          <p:nvPr/>
        </p:nvSpPr>
        <p:spPr>
          <a:xfrm>
            <a:off x="869288" y="5901349"/>
            <a:ext cx="11043136" cy="4616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ITION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yPartitionFunction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AN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IGHT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UES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9000101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6E28654-627A-45F0-9D70-9336A300F4B1}"/>
              </a:ext>
            </a:extLst>
          </p:cNvPr>
          <p:cNvSpPr txBox="1"/>
          <p:nvPr/>
        </p:nvSpPr>
        <p:spPr>
          <a:xfrm>
            <a:off x="869287" y="1924825"/>
            <a:ext cx="11043137" cy="212365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Ts]              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AL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VARCHAR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4000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K_Core_Measuremen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IMAR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STERED </a:t>
            </a:r>
            <a:b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Ts]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 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A_COMPRESSION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GE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2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yPartitionScheme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2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2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K_Core_Measurement_Signal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EIGN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FERENCES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yPartitionScheme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de-CH" sz="12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5ADC5AA-E6DC-460C-B20C-620245946524}"/>
              </a:ext>
            </a:extLst>
          </p:cNvPr>
          <p:cNvSpPr txBox="1"/>
          <p:nvPr/>
        </p:nvSpPr>
        <p:spPr>
          <a:xfrm>
            <a:off x="869287" y="4170293"/>
            <a:ext cx="11043137" cy="64633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ITION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CHEME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yPartitionSchem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ITION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yPartitionFunction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 </a:t>
            </a:r>
            <a:r>
              <a:rPr lang="de-CH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PRIMARY]</a:t>
            </a:r>
            <a:r>
              <a:rPr lang="de-CH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PRIMARY]</a:t>
            </a:r>
            <a:r>
              <a:rPr lang="de-CH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de-CH" sz="12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01CE2A21-CCBE-4E87-A7BF-0AF08A46C397}"/>
              </a:ext>
            </a:extLst>
          </p:cNvPr>
          <p:cNvCxnSpPr/>
          <p:nvPr/>
        </p:nvCxnSpPr>
        <p:spPr>
          <a:xfrm>
            <a:off x="861496" y="5404512"/>
            <a:ext cx="11074224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BA8CCD5-D4F3-4463-A6B6-CB4807D6FCB1}"/>
              </a:ext>
            </a:extLst>
          </p:cNvPr>
          <p:cNvCxnSpPr>
            <a:cxnSpLocks/>
          </p:cNvCxnSpPr>
          <p:nvPr/>
        </p:nvCxnSpPr>
        <p:spPr>
          <a:xfrm>
            <a:off x="4100239" y="5050660"/>
            <a:ext cx="0" cy="482339"/>
          </a:xfrm>
          <a:prstGeom prst="line">
            <a:avLst/>
          </a:prstGeom>
          <a:ln w="1270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F6F51C4C-2544-4681-900C-926412EEFFDE}"/>
              </a:ext>
            </a:extLst>
          </p:cNvPr>
          <p:cNvSpPr txBox="1"/>
          <p:nvPr/>
        </p:nvSpPr>
        <p:spPr>
          <a:xfrm>
            <a:off x="3437735" y="5514115"/>
            <a:ext cx="128569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CH" sz="1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9000101</a:t>
            </a:r>
            <a:endParaRPr lang="en-CH" dirty="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282FA0E-0D04-4503-8843-800130ABD460}"/>
              </a:ext>
            </a:extLst>
          </p:cNvPr>
          <p:cNvSpPr/>
          <p:nvPr/>
        </p:nvSpPr>
        <p:spPr>
          <a:xfrm>
            <a:off x="869287" y="5050660"/>
            <a:ext cx="3161060" cy="330547"/>
          </a:xfrm>
          <a:prstGeom prst="rect">
            <a:avLst/>
          </a:prstGeom>
          <a:solidFill>
            <a:srgbClr val="92D050">
              <a:alpha val="72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artition 1: &gt; 19000101</a:t>
            </a:r>
            <a:endParaRPr lang="en-CH" sz="1200" dirty="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5547908-B8DB-4141-847A-5E3E5266F89C}"/>
              </a:ext>
            </a:extLst>
          </p:cNvPr>
          <p:cNvSpPr/>
          <p:nvPr/>
        </p:nvSpPr>
        <p:spPr>
          <a:xfrm>
            <a:off x="4030346" y="5050745"/>
            <a:ext cx="7882078" cy="330547"/>
          </a:xfrm>
          <a:prstGeom prst="rect">
            <a:avLst/>
          </a:prstGeom>
          <a:solidFill>
            <a:srgbClr val="92D050">
              <a:alpha val="72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artition 2: &gt;= 19000101</a:t>
            </a:r>
            <a:endParaRPr lang="en-CH" sz="120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6B109C9-F17F-463B-93CB-198DB5DDB1EC}"/>
              </a:ext>
            </a:extLst>
          </p:cNvPr>
          <p:cNvGrpSpPr/>
          <p:nvPr/>
        </p:nvGrpSpPr>
        <p:grpSpPr>
          <a:xfrm>
            <a:off x="6237722" y="5317498"/>
            <a:ext cx="5171887" cy="1466507"/>
            <a:chOff x="6237722" y="5317498"/>
            <a:chExt cx="5171887" cy="1466507"/>
          </a:xfrm>
        </p:grpSpPr>
        <p:sp>
          <p:nvSpPr>
            <p:cNvPr id="52" name="Callout: Bent Line 51">
              <a:extLst>
                <a:ext uri="{FF2B5EF4-FFF2-40B4-BE49-F238E27FC236}">
                  <a16:creationId xmlns:a16="http://schemas.microsoft.com/office/drawing/2014/main" id="{272A49F4-171E-4412-8123-650DDED3C838}"/>
                </a:ext>
              </a:extLst>
            </p:cNvPr>
            <p:cNvSpPr/>
            <p:nvPr/>
          </p:nvSpPr>
          <p:spPr>
            <a:xfrm>
              <a:off x="6237722" y="5317498"/>
              <a:ext cx="5171887" cy="1466507"/>
            </a:xfrm>
            <a:prstGeom prst="borderCallout2">
              <a:avLst>
                <a:gd name="adj1" fmla="val 18750"/>
                <a:gd name="adj2" fmla="val -8333"/>
                <a:gd name="adj3" fmla="val 18750"/>
                <a:gd name="adj4" fmla="val -16667"/>
                <a:gd name="adj5" fmla="val -1481"/>
                <a:gd name="adj6" fmla="val -25271"/>
              </a:avLst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 dirty="0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2FB85FC-3C46-4A6E-B6AD-A5667E6680B0}"/>
                </a:ext>
              </a:extLst>
            </p:cNvPr>
            <p:cNvSpPr txBox="1"/>
            <p:nvPr/>
          </p:nvSpPr>
          <p:spPr>
            <a:xfrm>
              <a:off x="7257019" y="5549506"/>
              <a:ext cx="3946042" cy="25391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fr-FR" sz="1050" dirty="0">
                  <a:solidFill>
                    <a:srgbClr val="0000FF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EXECUTE</a:t>
              </a:r>
              <a:r>
                <a:rPr lang="fr-FR" sz="105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 [Partition]</a:t>
              </a:r>
              <a:r>
                <a:rPr lang="fr-FR" sz="1050" dirty="0">
                  <a:solidFill>
                    <a:srgbClr val="80808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.</a:t>
              </a:r>
              <a:r>
                <a:rPr lang="fr-FR" sz="105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[</a:t>
              </a:r>
              <a:r>
                <a:rPr lang="fr-FR" sz="1050" dirty="0" err="1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MaintainPartitionBorders</a:t>
              </a:r>
              <a:r>
                <a:rPr lang="fr-FR" sz="105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]</a:t>
              </a:r>
              <a:endParaRPr lang="en-CH" sz="105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0DDCB376-CABC-485F-915A-5FD8387FAD6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453895" y="5700073"/>
              <a:ext cx="594368" cy="701355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1B2831EC-06E9-4ECD-B8F3-9A3DEF158659}"/>
                </a:ext>
              </a:extLst>
            </p:cNvPr>
            <p:cNvSpPr txBox="1"/>
            <p:nvPr/>
          </p:nvSpPr>
          <p:spPr>
            <a:xfrm>
              <a:off x="7257019" y="5945312"/>
              <a:ext cx="3746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Creates new partitions for the upcoming days (~ + 40 days in future)</a:t>
              </a:r>
              <a:endParaRPr lang="en-CH" dirty="0"/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D2F0E071-E514-407A-BF12-6A9CC29C096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13007" y="1352363"/>
            <a:ext cx="2755972" cy="1658355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0215281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41" grpId="0" animBg="1"/>
      <p:bldP spid="46" grpId="0"/>
      <p:bldP spid="44" grpId="0" animBg="1"/>
      <p:bldP spid="51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5C4A83B-3262-48C0-9ABF-022CA6E86D1E}"/>
              </a:ext>
            </a:extLst>
          </p:cNvPr>
          <p:cNvCxnSpPr>
            <a:cxnSpLocks/>
          </p:cNvCxnSpPr>
          <p:nvPr/>
        </p:nvCxnSpPr>
        <p:spPr>
          <a:xfrm>
            <a:off x="4826074" y="265487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FE76807-1C26-405E-BE57-68F1AD2EC4BC}"/>
              </a:ext>
            </a:extLst>
          </p:cNvPr>
          <p:cNvCxnSpPr>
            <a:cxnSpLocks/>
          </p:cNvCxnSpPr>
          <p:nvPr/>
        </p:nvCxnSpPr>
        <p:spPr>
          <a:xfrm>
            <a:off x="1549049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1737A44-18D2-435A-AE7D-0EFE467F1C02}"/>
              </a:ext>
            </a:extLst>
          </p:cNvPr>
          <p:cNvCxnSpPr>
            <a:cxnSpLocks/>
          </p:cNvCxnSpPr>
          <p:nvPr/>
        </p:nvCxnSpPr>
        <p:spPr>
          <a:xfrm>
            <a:off x="237166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6BEFBC-3850-4769-8117-CB3C74D37165}"/>
              </a:ext>
            </a:extLst>
          </p:cNvPr>
          <p:cNvCxnSpPr>
            <a:cxnSpLocks/>
          </p:cNvCxnSpPr>
          <p:nvPr/>
        </p:nvCxnSpPr>
        <p:spPr>
          <a:xfrm>
            <a:off x="32029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39E48A0-670C-4144-AFEE-5A526400FB13}"/>
              </a:ext>
            </a:extLst>
          </p:cNvPr>
          <p:cNvCxnSpPr>
            <a:cxnSpLocks/>
          </p:cNvCxnSpPr>
          <p:nvPr/>
        </p:nvCxnSpPr>
        <p:spPr>
          <a:xfrm>
            <a:off x="40030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6817382-A1F1-42EB-982C-9751CB42BE80}"/>
              </a:ext>
            </a:extLst>
          </p:cNvPr>
          <p:cNvCxnSpPr>
            <a:cxnSpLocks/>
          </p:cNvCxnSpPr>
          <p:nvPr/>
        </p:nvCxnSpPr>
        <p:spPr>
          <a:xfrm flipH="1">
            <a:off x="5665603" y="4098694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D87EAD-4E04-46D1-802C-0D33CB097C36}"/>
              </a:ext>
            </a:extLst>
          </p:cNvPr>
          <p:cNvCxnSpPr>
            <a:cxnSpLocks/>
          </p:cNvCxnSpPr>
          <p:nvPr/>
        </p:nvCxnSpPr>
        <p:spPr>
          <a:xfrm>
            <a:off x="648821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3E05C6A-D78D-4578-BC86-C6BA722AEDFE}"/>
              </a:ext>
            </a:extLst>
          </p:cNvPr>
          <p:cNvCxnSpPr>
            <a:cxnSpLocks/>
          </p:cNvCxnSpPr>
          <p:nvPr/>
        </p:nvCxnSpPr>
        <p:spPr>
          <a:xfrm>
            <a:off x="73194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B6A4DA2-619A-4175-9E47-E5D80A5BBCA9}"/>
              </a:ext>
            </a:extLst>
          </p:cNvPr>
          <p:cNvCxnSpPr>
            <a:cxnSpLocks/>
          </p:cNvCxnSpPr>
          <p:nvPr/>
        </p:nvCxnSpPr>
        <p:spPr>
          <a:xfrm>
            <a:off x="81195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3AE67FD-D5A8-40DA-BDB7-98E0120C91BD}"/>
              </a:ext>
            </a:extLst>
          </p:cNvPr>
          <p:cNvCxnSpPr>
            <a:cxnSpLocks/>
          </p:cNvCxnSpPr>
          <p:nvPr/>
        </p:nvCxnSpPr>
        <p:spPr>
          <a:xfrm>
            <a:off x="894262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A12DC807-138F-4B3C-B705-420C36CBAADB}"/>
              </a:ext>
            </a:extLst>
          </p:cNvPr>
          <p:cNvCxnSpPr>
            <a:cxnSpLocks/>
          </p:cNvCxnSpPr>
          <p:nvPr/>
        </p:nvCxnSpPr>
        <p:spPr>
          <a:xfrm>
            <a:off x="9775623" y="4065805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1983122-51DE-4423-BB19-E192CA6B97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Details – Advanced Usage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A2D5A2-64A0-48C0-8EB0-41A24BD2BD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19438"/>
            <a:ext cx="10515600" cy="103405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/>
              <a:t>For large data history, day partitioning leads to too many partitions</a:t>
            </a:r>
          </a:p>
          <a:p>
            <a:r>
              <a:rPr lang="en-US" sz="1800" dirty="0"/>
              <a:t>There is a mixed model with day and month partitions</a:t>
            </a:r>
          </a:p>
          <a:p>
            <a:pPr lvl="1"/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DEFA573-7880-44FC-9A2D-B7E2AD3D919B}"/>
              </a:ext>
            </a:extLst>
          </p:cNvPr>
          <p:cNvSpPr/>
          <p:nvPr/>
        </p:nvSpPr>
        <p:spPr>
          <a:xfrm>
            <a:off x="153725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9E8B9050-0B48-4756-BD6C-31848982B52A}"/>
              </a:ext>
            </a:extLst>
          </p:cNvPr>
          <p:cNvCxnSpPr/>
          <p:nvPr/>
        </p:nvCxnSpPr>
        <p:spPr>
          <a:xfrm>
            <a:off x="1430752" y="5404512"/>
            <a:ext cx="10080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EA8B26F7-7C49-4F3D-8F81-EE7C45994C4F}"/>
              </a:ext>
            </a:extLst>
          </p:cNvPr>
          <p:cNvSpPr/>
          <p:nvPr/>
        </p:nvSpPr>
        <p:spPr>
          <a:xfrm>
            <a:off x="2359875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AB7BA2E-730D-4468-A5B5-5D77502C8881}"/>
              </a:ext>
            </a:extLst>
          </p:cNvPr>
          <p:cNvSpPr/>
          <p:nvPr/>
        </p:nvSpPr>
        <p:spPr>
          <a:xfrm>
            <a:off x="3182493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0C5C86-487E-48EA-BC92-4F46848BDF8A}"/>
              </a:ext>
            </a:extLst>
          </p:cNvPr>
          <p:cNvSpPr/>
          <p:nvPr/>
        </p:nvSpPr>
        <p:spPr>
          <a:xfrm>
            <a:off x="4005111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2EEBEB2-FCC0-4D64-A59F-247E8EADE52E}"/>
              </a:ext>
            </a:extLst>
          </p:cNvPr>
          <p:cNvSpPr/>
          <p:nvPr/>
        </p:nvSpPr>
        <p:spPr>
          <a:xfrm>
            <a:off x="4827728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AAD6E0C-4DC5-4CC7-893F-E6916AF84728}"/>
              </a:ext>
            </a:extLst>
          </p:cNvPr>
          <p:cNvSpPr/>
          <p:nvPr/>
        </p:nvSpPr>
        <p:spPr>
          <a:xfrm>
            <a:off x="5653811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D876776-4B7D-471C-938C-A668C2F6910F}"/>
              </a:ext>
            </a:extLst>
          </p:cNvPr>
          <p:cNvSpPr/>
          <p:nvPr/>
        </p:nvSpPr>
        <p:spPr>
          <a:xfrm>
            <a:off x="6476429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4F588E4-1EAE-4551-A9F1-B31FF5018E8C}"/>
              </a:ext>
            </a:extLst>
          </p:cNvPr>
          <p:cNvSpPr/>
          <p:nvPr/>
        </p:nvSpPr>
        <p:spPr>
          <a:xfrm>
            <a:off x="729904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D4A45AC-C864-47BA-9D22-1945BEC9286C}"/>
              </a:ext>
            </a:extLst>
          </p:cNvPr>
          <p:cNvSpPr/>
          <p:nvPr/>
        </p:nvSpPr>
        <p:spPr>
          <a:xfrm>
            <a:off x="1539026" y="3354714"/>
            <a:ext cx="3261309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2901F1D-5146-414F-B8B8-755D56314D2E}"/>
              </a:ext>
            </a:extLst>
          </p:cNvPr>
          <p:cNvSpPr/>
          <p:nvPr/>
        </p:nvSpPr>
        <p:spPr>
          <a:xfrm>
            <a:off x="4800335" y="3352531"/>
            <a:ext cx="5775387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7FE4C60-8DFC-45E5-8552-9A1DB042F823}"/>
              </a:ext>
            </a:extLst>
          </p:cNvPr>
          <p:cNvCxnSpPr>
            <a:cxnSpLocks/>
          </p:cNvCxnSpPr>
          <p:nvPr/>
        </p:nvCxnSpPr>
        <p:spPr>
          <a:xfrm>
            <a:off x="10575723" y="2658355"/>
            <a:ext cx="0" cy="28938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C513E48F-418D-476C-9189-7BAEAF86D22E}"/>
              </a:ext>
            </a:extLst>
          </p:cNvPr>
          <p:cNvCxnSpPr>
            <a:cxnSpLocks/>
          </p:cNvCxnSpPr>
          <p:nvPr/>
        </p:nvCxnSpPr>
        <p:spPr>
          <a:xfrm>
            <a:off x="10565339" y="266181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CF79E729-EA15-43B5-900A-E2FE33D1F232}"/>
              </a:ext>
            </a:extLst>
          </p:cNvPr>
          <p:cNvSpPr txBox="1"/>
          <p:nvPr/>
        </p:nvSpPr>
        <p:spPr>
          <a:xfrm flipH="1">
            <a:off x="88719" y="4877878"/>
            <a:ext cx="14658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</a:p>
          <a:p>
            <a:r>
              <a:rPr lang="en-US" sz="800" dirty="0"/>
              <a:t>[Core].[Measurement]</a:t>
            </a:r>
          </a:p>
          <a:p>
            <a:r>
              <a:rPr lang="en-US" sz="800" dirty="0"/>
              <a:t>(Day partition)</a:t>
            </a:r>
            <a:endParaRPr lang="en-CH" sz="8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5B2655C-69D5-43AF-A26B-0E2CAB0389D0}"/>
              </a:ext>
            </a:extLst>
          </p:cNvPr>
          <p:cNvSpPr txBox="1"/>
          <p:nvPr/>
        </p:nvSpPr>
        <p:spPr>
          <a:xfrm flipH="1">
            <a:off x="84936" y="3417929"/>
            <a:ext cx="1414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Store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3503891-D40A-4976-91B0-E28D7517A76F}"/>
              </a:ext>
            </a:extLst>
          </p:cNvPr>
          <p:cNvSpPr txBox="1"/>
          <p:nvPr/>
        </p:nvSpPr>
        <p:spPr>
          <a:xfrm flipH="1">
            <a:off x="4509604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1</a:t>
            </a:r>
            <a:endParaRPr lang="en-CH" sz="8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5E64E09-D9D0-4A0E-B2AC-A9D1DD55B6C5}"/>
              </a:ext>
            </a:extLst>
          </p:cNvPr>
          <p:cNvSpPr txBox="1"/>
          <p:nvPr/>
        </p:nvSpPr>
        <p:spPr>
          <a:xfrm flipH="1">
            <a:off x="10259252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301</a:t>
            </a:r>
            <a:endParaRPr lang="en-CH" sz="8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5B8A4D8-3E26-4ADC-9D0E-94E9488A6E2A}"/>
              </a:ext>
            </a:extLst>
          </p:cNvPr>
          <p:cNvSpPr txBox="1"/>
          <p:nvPr/>
        </p:nvSpPr>
        <p:spPr>
          <a:xfrm flipH="1">
            <a:off x="3673129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1</a:t>
            </a:r>
            <a:endParaRPr lang="en-CH" sz="800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4CAC4FC-5239-427F-B7E4-05DEAD6BDDA3}"/>
              </a:ext>
            </a:extLst>
          </p:cNvPr>
          <p:cNvSpPr txBox="1"/>
          <p:nvPr/>
        </p:nvSpPr>
        <p:spPr>
          <a:xfrm flipH="1">
            <a:off x="290300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0</a:t>
            </a:r>
            <a:endParaRPr lang="en-CH" sz="800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F5E441B-B3FC-432B-ADAC-0CA13FB25447}"/>
              </a:ext>
            </a:extLst>
          </p:cNvPr>
          <p:cNvSpPr txBox="1"/>
          <p:nvPr/>
        </p:nvSpPr>
        <p:spPr>
          <a:xfrm flipH="1">
            <a:off x="202369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9</a:t>
            </a:r>
            <a:endParaRPr lang="en-CH" sz="800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F02E3465-BE43-4297-B8F1-F432ABDC0524}"/>
              </a:ext>
            </a:extLst>
          </p:cNvPr>
          <p:cNvSpPr txBox="1"/>
          <p:nvPr/>
        </p:nvSpPr>
        <p:spPr>
          <a:xfrm flipH="1">
            <a:off x="1253563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8</a:t>
            </a:r>
            <a:endParaRPr lang="en-CH" sz="800" dirty="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B87F502-3127-4475-9772-4C816E0B9613}"/>
              </a:ext>
            </a:extLst>
          </p:cNvPr>
          <p:cNvSpPr txBox="1"/>
          <p:nvPr/>
        </p:nvSpPr>
        <p:spPr>
          <a:xfrm flipH="1">
            <a:off x="7777968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…</a:t>
            </a:r>
            <a:endParaRPr lang="en-CH" sz="800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DB4F107-0B20-486B-925F-CCC9F2F1BBD8}"/>
              </a:ext>
            </a:extLst>
          </p:cNvPr>
          <p:cNvSpPr txBox="1"/>
          <p:nvPr/>
        </p:nvSpPr>
        <p:spPr>
          <a:xfrm flipH="1">
            <a:off x="700784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4</a:t>
            </a:r>
            <a:endParaRPr lang="en-CH" sz="800" dirty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0C950375-C492-4B34-9E76-A4A0CB0CA379}"/>
              </a:ext>
            </a:extLst>
          </p:cNvPr>
          <p:cNvSpPr txBox="1"/>
          <p:nvPr/>
        </p:nvSpPr>
        <p:spPr>
          <a:xfrm flipH="1">
            <a:off x="612853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3</a:t>
            </a:r>
            <a:endParaRPr lang="en-CH" sz="800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807A427-5755-456A-BF5F-0FE137BE623F}"/>
              </a:ext>
            </a:extLst>
          </p:cNvPr>
          <p:cNvSpPr txBox="1"/>
          <p:nvPr/>
        </p:nvSpPr>
        <p:spPr>
          <a:xfrm flipH="1">
            <a:off x="5358402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2</a:t>
            </a:r>
            <a:endParaRPr lang="en-CH" sz="80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CC20A2B-0990-4C85-A548-47D20B8CEC45}"/>
              </a:ext>
            </a:extLst>
          </p:cNvPr>
          <p:cNvSpPr txBox="1"/>
          <p:nvPr/>
        </p:nvSpPr>
        <p:spPr>
          <a:xfrm flipH="1">
            <a:off x="1423594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0</a:t>
            </a:r>
          </a:p>
          <a:p>
            <a:pPr algn="ctr"/>
            <a:r>
              <a:rPr lang="en-US" sz="700" dirty="0"/>
              <a:t>B 12.1</a:t>
            </a:r>
          </a:p>
          <a:p>
            <a:pPr algn="ctr"/>
            <a:r>
              <a:rPr lang="en-US" sz="700" dirty="0"/>
              <a:t>C 77.4</a:t>
            </a:r>
            <a:endParaRPr lang="en-CH" sz="700" dirty="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2225D5C-3746-4C9B-B64E-089C9C626D55}"/>
              </a:ext>
            </a:extLst>
          </p:cNvPr>
          <p:cNvSpPr txBox="1"/>
          <p:nvPr/>
        </p:nvSpPr>
        <p:spPr>
          <a:xfrm flipH="1">
            <a:off x="2270127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7.0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55.1</a:t>
            </a:r>
            <a:endParaRPr lang="en-CH" sz="700" dirty="0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013E632-F09A-4548-B3BC-A1E56DB2557B}"/>
              </a:ext>
            </a:extLst>
          </p:cNvPr>
          <p:cNvSpPr txBox="1"/>
          <p:nvPr/>
        </p:nvSpPr>
        <p:spPr>
          <a:xfrm flipH="1">
            <a:off x="3116660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5</a:t>
            </a:r>
          </a:p>
          <a:p>
            <a:pPr algn="ctr"/>
            <a:r>
              <a:rPr lang="en-US" sz="700" dirty="0"/>
              <a:t>B 15.5</a:t>
            </a:r>
          </a:p>
          <a:p>
            <a:pPr algn="ctr"/>
            <a:r>
              <a:rPr lang="en-US" sz="700" dirty="0"/>
              <a:t>D 11.4</a:t>
            </a:r>
            <a:endParaRPr lang="en-CH" sz="700" dirty="0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9FF1751A-E3A1-48A4-A4F0-CC9A8B69EB69}"/>
              </a:ext>
            </a:extLst>
          </p:cNvPr>
          <p:cNvSpPr txBox="1"/>
          <p:nvPr/>
        </p:nvSpPr>
        <p:spPr>
          <a:xfrm flipH="1">
            <a:off x="3963193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55.1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78.5</a:t>
            </a:r>
            <a:endParaRPr lang="en-CH" sz="700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206D7546-19D5-4A63-9B7D-C61C0D912C8A}"/>
              </a:ext>
            </a:extLst>
          </p:cNvPr>
          <p:cNvSpPr txBox="1"/>
          <p:nvPr/>
        </p:nvSpPr>
        <p:spPr>
          <a:xfrm flipH="1">
            <a:off x="4809726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4</a:t>
            </a:r>
          </a:p>
          <a:p>
            <a:pPr algn="ctr"/>
            <a:r>
              <a:rPr lang="en-US" sz="700" dirty="0"/>
              <a:t>B 42.1</a:t>
            </a:r>
          </a:p>
          <a:p>
            <a:pPr algn="ctr"/>
            <a:r>
              <a:rPr lang="en-US" sz="700" dirty="0"/>
              <a:t>D 15.4</a:t>
            </a:r>
            <a:endParaRPr lang="en-CH" sz="700" dirty="0"/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BF5357F9-E3FF-49C9-890A-EA54879057D0}"/>
              </a:ext>
            </a:extLst>
          </p:cNvPr>
          <p:cNvSpPr txBox="1"/>
          <p:nvPr/>
        </p:nvSpPr>
        <p:spPr>
          <a:xfrm flipH="1">
            <a:off x="5656259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1</a:t>
            </a:r>
          </a:p>
          <a:p>
            <a:pPr algn="ctr"/>
            <a:r>
              <a:rPr lang="en-US" sz="700" dirty="0"/>
              <a:t>B 12.5</a:t>
            </a:r>
          </a:p>
          <a:p>
            <a:pPr algn="ctr"/>
            <a:r>
              <a:rPr lang="en-US" sz="700" dirty="0"/>
              <a:t>C 77.8</a:t>
            </a:r>
            <a:endParaRPr lang="en-CH" sz="700" dirty="0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4783D567-0079-46BB-81C0-0CC0F9C4E1AA}"/>
              </a:ext>
            </a:extLst>
          </p:cNvPr>
          <p:cNvSpPr txBox="1"/>
          <p:nvPr/>
        </p:nvSpPr>
        <p:spPr>
          <a:xfrm flipH="1">
            <a:off x="6502792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35.0</a:t>
            </a:r>
          </a:p>
          <a:p>
            <a:pPr algn="ctr"/>
            <a:r>
              <a:rPr lang="en-US" sz="700" dirty="0"/>
              <a:t>B 15.1</a:t>
            </a:r>
          </a:p>
          <a:p>
            <a:pPr algn="ctr"/>
            <a:r>
              <a:rPr lang="en-US" sz="700" dirty="0"/>
              <a:t>C 75.5</a:t>
            </a:r>
            <a:endParaRPr lang="en-CH" sz="700" dirty="0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09EEE526-0C79-48B5-93ED-8E6FC1B3441F}"/>
              </a:ext>
            </a:extLst>
          </p:cNvPr>
          <p:cNvSpPr txBox="1"/>
          <p:nvPr/>
        </p:nvSpPr>
        <p:spPr>
          <a:xfrm flipH="1">
            <a:off x="7349327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3</a:t>
            </a:r>
          </a:p>
          <a:p>
            <a:pPr algn="ctr"/>
            <a:r>
              <a:rPr lang="en-US" sz="700" dirty="0"/>
              <a:t>B 18.9</a:t>
            </a:r>
          </a:p>
          <a:p>
            <a:pPr algn="ctr"/>
            <a:r>
              <a:rPr lang="en-US" sz="700" dirty="0"/>
              <a:t>C 67.4</a:t>
            </a:r>
            <a:endParaRPr lang="en-CH" sz="700" dirty="0"/>
          </a:p>
        </p:txBody>
      </p:sp>
      <p:sp>
        <p:nvSpPr>
          <p:cNvPr id="80" name="Right Brace 79">
            <a:extLst>
              <a:ext uri="{FF2B5EF4-FFF2-40B4-BE49-F238E27FC236}">
                <a16:creationId xmlns:a16="http://schemas.microsoft.com/office/drawing/2014/main" id="{D11D61C6-79FC-4019-84D3-78BB4A96F969}"/>
              </a:ext>
            </a:extLst>
          </p:cNvPr>
          <p:cNvSpPr/>
          <p:nvPr/>
        </p:nvSpPr>
        <p:spPr>
          <a:xfrm>
            <a:off x="10672482" y="3352531"/>
            <a:ext cx="265954" cy="201437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924614FD-70DE-45FB-B999-A572D7A1A24D}"/>
              </a:ext>
            </a:extLst>
          </p:cNvPr>
          <p:cNvSpPr txBox="1"/>
          <p:nvPr/>
        </p:nvSpPr>
        <p:spPr>
          <a:xfrm flipH="1">
            <a:off x="10940684" y="4193950"/>
            <a:ext cx="12473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View:</a:t>
            </a:r>
          </a:p>
          <a:p>
            <a:r>
              <a:rPr lang="en-US" sz="800" dirty="0"/>
              <a:t>[Core].[</a:t>
            </a:r>
            <a:r>
              <a:rPr lang="en-US" sz="800" dirty="0" err="1"/>
              <a:t>AllMeasurement</a:t>
            </a:r>
            <a:r>
              <a:rPr lang="en-US" sz="800" dirty="0"/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20598435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2" grpId="0" animBg="1"/>
      <p:bldP spid="43" grpId="0"/>
      <p:bldP spid="80" grpId="0" animBg="1"/>
      <p:bldP spid="82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tangle 61">
            <a:extLst>
              <a:ext uri="{FF2B5EF4-FFF2-40B4-BE49-F238E27FC236}">
                <a16:creationId xmlns:a16="http://schemas.microsoft.com/office/drawing/2014/main" id="{0B56F94D-D9F2-47D5-9A51-A6D90B532DAC}"/>
              </a:ext>
            </a:extLst>
          </p:cNvPr>
          <p:cNvSpPr/>
          <p:nvPr/>
        </p:nvSpPr>
        <p:spPr>
          <a:xfrm>
            <a:off x="566253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5C4A83B-3262-48C0-9ABF-022CA6E86D1E}"/>
              </a:ext>
            </a:extLst>
          </p:cNvPr>
          <p:cNvCxnSpPr>
            <a:cxnSpLocks/>
          </p:cNvCxnSpPr>
          <p:nvPr/>
        </p:nvCxnSpPr>
        <p:spPr>
          <a:xfrm>
            <a:off x="4826074" y="265487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FE76807-1C26-405E-BE57-68F1AD2EC4BC}"/>
              </a:ext>
            </a:extLst>
          </p:cNvPr>
          <p:cNvCxnSpPr>
            <a:cxnSpLocks/>
          </p:cNvCxnSpPr>
          <p:nvPr/>
        </p:nvCxnSpPr>
        <p:spPr>
          <a:xfrm>
            <a:off x="1549049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1737A44-18D2-435A-AE7D-0EFE467F1C02}"/>
              </a:ext>
            </a:extLst>
          </p:cNvPr>
          <p:cNvCxnSpPr>
            <a:cxnSpLocks/>
          </p:cNvCxnSpPr>
          <p:nvPr/>
        </p:nvCxnSpPr>
        <p:spPr>
          <a:xfrm>
            <a:off x="237166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6BEFBC-3850-4769-8117-CB3C74D37165}"/>
              </a:ext>
            </a:extLst>
          </p:cNvPr>
          <p:cNvCxnSpPr>
            <a:cxnSpLocks/>
          </p:cNvCxnSpPr>
          <p:nvPr/>
        </p:nvCxnSpPr>
        <p:spPr>
          <a:xfrm>
            <a:off x="32029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39E48A0-670C-4144-AFEE-5A526400FB13}"/>
              </a:ext>
            </a:extLst>
          </p:cNvPr>
          <p:cNvCxnSpPr>
            <a:cxnSpLocks/>
          </p:cNvCxnSpPr>
          <p:nvPr/>
        </p:nvCxnSpPr>
        <p:spPr>
          <a:xfrm>
            <a:off x="40030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6817382-A1F1-42EB-982C-9751CB42BE80}"/>
              </a:ext>
            </a:extLst>
          </p:cNvPr>
          <p:cNvCxnSpPr>
            <a:cxnSpLocks/>
          </p:cNvCxnSpPr>
          <p:nvPr/>
        </p:nvCxnSpPr>
        <p:spPr>
          <a:xfrm flipH="1">
            <a:off x="5665603" y="4098694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D87EAD-4E04-46D1-802C-0D33CB097C36}"/>
              </a:ext>
            </a:extLst>
          </p:cNvPr>
          <p:cNvCxnSpPr>
            <a:cxnSpLocks/>
          </p:cNvCxnSpPr>
          <p:nvPr/>
        </p:nvCxnSpPr>
        <p:spPr>
          <a:xfrm>
            <a:off x="648821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3E05C6A-D78D-4578-BC86-C6BA722AEDFE}"/>
              </a:ext>
            </a:extLst>
          </p:cNvPr>
          <p:cNvCxnSpPr>
            <a:cxnSpLocks/>
          </p:cNvCxnSpPr>
          <p:nvPr/>
        </p:nvCxnSpPr>
        <p:spPr>
          <a:xfrm>
            <a:off x="73194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B6A4DA2-619A-4175-9E47-E5D80A5BBCA9}"/>
              </a:ext>
            </a:extLst>
          </p:cNvPr>
          <p:cNvCxnSpPr>
            <a:cxnSpLocks/>
          </p:cNvCxnSpPr>
          <p:nvPr/>
        </p:nvCxnSpPr>
        <p:spPr>
          <a:xfrm>
            <a:off x="81195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3AE67FD-D5A8-40DA-BDB7-98E0120C91BD}"/>
              </a:ext>
            </a:extLst>
          </p:cNvPr>
          <p:cNvCxnSpPr>
            <a:cxnSpLocks/>
          </p:cNvCxnSpPr>
          <p:nvPr/>
        </p:nvCxnSpPr>
        <p:spPr>
          <a:xfrm>
            <a:off x="894262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A12DC807-138F-4B3C-B705-420C36CBAADB}"/>
              </a:ext>
            </a:extLst>
          </p:cNvPr>
          <p:cNvCxnSpPr>
            <a:cxnSpLocks/>
          </p:cNvCxnSpPr>
          <p:nvPr/>
        </p:nvCxnSpPr>
        <p:spPr>
          <a:xfrm>
            <a:off x="9775623" y="4065805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1983122-51DE-4423-BB19-E192CA6B97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Details – Advanced Usage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A2D5A2-64A0-48C0-8EB0-41A24BD2BD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19438"/>
            <a:ext cx="10515600" cy="103405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/>
              <a:t>For large data history, day partitioning leads to too many partitions</a:t>
            </a:r>
          </a:p>
          <a:p>
            <a:r>
              <a:rPr lang="en-US" sz="1800" dirty="0"/>
              <a:t>There is a mixed model with day and month partitions</a:t>
            </a:r>
          </a:p>
          <a:p>
            <a:pPr lvl="1"/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DEFA573-7880-44FC-9A2D-B7E2AD3D919B}"/>
              </a:ext>
            </a:extLst>
          </p:cNvPr>
          <p:cNvSpPr/>
          <p:nvPr/>
        </p:nvSpPr>
        <p:spPr>
          <a:xfrm>
            <a:off x="153725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9E8B9050-0B48-4756-BD6C-31848982B52A}"/>
              </a:ext>
            </a:extLst>
          </p:cNvPr>
          <p:cNvCxnSpPr/>
          <p:nvPr/>
        </p:nvCxnSpPr>
        <p:spPr>
          <a:xfrm>
            <a:off x="1430752" y="5404512"/>
            <a:ext cx="10080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EA8B26F7-7C49-4F3D-8F81-EE7C45994C4F}"/>
              </a:ext>
            </a:extLst>
          </p:cNvPr>
          <p:cNvSpPr/>
          <p:nvPr/>
        </p:nvSpPr>
        <p:spPr>
          <a:xfrm>
            <a:off x="2359875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AB7BA2E-730D-4468-A5B5-5D77502C8881}"/>
              </a:ext>
            </a:extLst>
          </p:cNvPr>
          <p:cNvSpPr/>
          <p:nvPr/>
        </p:nvSpPr>
        <p:spPr>
          <a:xfrm>
            <a:off x="3182493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0C5C86-487E-48EA-BC92-4F46848BDF8A}"/>
              </a:ext>
            </a:extLst>
          </p:cNvPr>
          <p:cNvSpPr/>
          <p:nvPr/>
        </p:nvSpPr>
        <p:spPr>
          <a:xfrm>
            <a:off x="4005111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2EEBEB2-FCC0-4D64-A59F-247E8EADE52E}"/>
              </a:ext>
            </a:extLst>
          </p:cNvPr>
          <p:cNvSpPr/>
          <p:nvPr/>
        </p:nvSpPr>
        <p:spPr>
          <a:xfrm>
            <a:off x="4827728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D876776-4B7D-471C-938C-A668C2F6910F}"/>
              </a:ext>
            </a:extLst>
          </p:cNvPr>
          <p:cNvSpPr/>
          <p:nvPr/>
        </p:nvSpPr>
        <p:spPr>
          <a:xfrm>
            <a:off x="6476429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4F588E4-1EAE-4551-A9F1-B31FF5018E8C}"/>
              </a:ext>
            </a:extLst>
          </p:cNvPr>
          <p:cNvSpPr/>
          <p:nvPr/>
        </p:nvSpPr>
        <p:spPr>
          <a:xfrm>
            <a:off x="729904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D4A45AC-C864-47BA-9D22-1945BEC9286C}"/>
              </a:ext>
            </a:extLst>
          </p:cNvPr>
          <p:cNvSpPr/>
          <p:nvPr/>
        </p:nvSpPr>
        <p:spPr>
          <a:xfrm>
            <a:off x="1539026" y="3354714"/>
            <a:ext cx="3261309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2901F1D-5146-414F-B8B8-755D56314D2E}"/>
              </a:ext>
            </a:extLst>
          </p:cNvPr>
          <p:cNvSpPr/>
          <p:nvPr/>
        </p:nvSpPr>
        <p:spPr>
          <a:xfrm>
            <a:off x="4800335" y="3352531"/>
            <a:ext cx="5775387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7FE4C60-8DFC-45E5-8552-9A1DB042F823}"/>
              </a:ext>
            </a:extLst>
          </p:cNvPr>
          <p:cNvCxnSpPr>
            <a:cxnSpLocks/>
          </p:cNvCxnSpPr>
          <p:nvPr/>
        </p:nvCxnSpPr>
        <p:spPr>
          <a:xfrm>
            <a:off x="10575723" y="2658355"/>
            <a:ext cx="0" cy="28938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C513E48F-418D-476C-9189-7BAEAF86D22E}"/>
              </a:ext>
            </a:extLst>
          </p:cNvPr>
          <p:cNvCxnSpPr>
            <a:cxnSpLocks/>
          </p:cNvCxnSpPr>
          <p:nvPr/>
        </p:nvCxnSpPr>
        <p:spPr>
          <a:xfrm>
            <a:off x="10565339" y="266181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CF79E729-EA15-43B5-900A-E2FE33D1F232}"/>
              </a:ext>
            </a:extLst>
          </p:cNvPr>
          <p:cNvSpPr txBox="1"/>
          <p:nvPr/>
        </p:nvSpPr>
        <p:spPr>
          <a:xfrm flipH="1">
            <a:off x="88719" y="4877878"/>
            <a:ext cx="14658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</a:p>
          <a:p>
            <a:r>
              <a:rPr lang="en-US" sz="800" dirty="0"/>
              <a:t>[Core].[Measurement]</a:t>
            </a:r>
          </a:p>
          <a:p>
            <a:r>
              <a:rPr lang="en-US" sz="800" dirty="0"/>
              <a:t>(Day partition)</a:t>
            </a:r>
            <a:endParaRPr lang="en-CH" sz="8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5B2655C-69D5-43AF-A26B-0E2CAB0389D0}"/>
              </a:ext>
            </a:extLst>
          </p:cNvPr>
          <p:cNvSpPr txBox="1"/>
          <p:nvPr/>
        </p:nvSpPr>
        <p:spPr>
          <a:xfrm flipH="1">
            <a:off x="84936" y="3417929"/>
            <a:ext cx="1414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Store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3503891-D40A-4976-91B0-E28D7517A76F}"/>
              </a:ext>
            </a:extLst>
          </p:cNvPr>
          <p:cNvSpPr txBox="1"/>
          <p:nvPr/>
        </p:nvSpPr>
        <p:spPr>
          <a:xfrm flipH="1">
            <a:off x="4509604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1</a:t>
            </a:r>
            <a:endParaRPr lang="en-CH" sz="8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5E64E09-D9D0-4A0E-B2AC-A9D1DD55B6C5}"/>
              </a:ext>
            </a:extLst>
          </p:cNvPr>
          <p:cNvSpPr txBox="1"/>
          <p:nvPr/>
        </p:nvSpPr>
        <p:spPr>
          <a:xfrm flipH="1">
            <a:off x="10259252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301</a:t>
            </a:r>
            <a:endParaRPr lang="en-CH" sz="8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5B8A4D8-3E26-4ADC-9D0E-94E9488A6E2A}"/>
              </a:ext>
            </a:extLst>
          </p:cNvPr>
          <p:cNvSpPr txBox="1"/>
          <p:nvPr/>
        </p:nvSpPr>
        <p:spPr>
          <a:xfrm flipH="1">
            <a:off x="3673129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1</a:t>
            </a:r>
            <a:endParaRPr lang="en-CH" sz="800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4CAC4FC-5239-427F-B7E4-05DEAD6BDDA3}"/>
              </a:ext>
            </a:extLst>
          </p:cNvPr>
          <p:cNvSpPr txBox="1"/>
          <p:nvPr/>
        </p:nvSpPr>
        <p:spPr>
          <a:xfrm flipH="1">
            <a:off x="290300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0</a:t>
            </a:r>
            <a:endParaRPr lang="en-CH" sz="800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F5E441B-B3FC-432B-ADAC-0CA13FB25447}"/>
              </a:ext>
            </a:extLst>
          </p:cNvPr>
          <p:cNvSpPr txBox="1"/>
          <p:nvPr/>
        </p:nvSpPr>
        <p:spPr>
          <a:xfrm flipH="1">
            <a:off x="202369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9</a:t>
            </a:r>
            <a:endParaRPr lang="en-CH" sz="800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F02E3465-BE43-4297-B8F1-F432ABDC0524}"/>
              </a:ext>
            </a:extLst>
          </p:cNvPr>
          <p:cNvSpPr txBox="1"/>
          <p:nvPr/>
        </p:nvSpPr>
        <p:spPr>
          <a:xfrm flipH="1">
            <a:off x="1253563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8</a:t>
            </a:r>
            <a:endParaRPr lang="en-CH" sz="800" dirty="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B87F502-3127-4475-9772-4C816E0B9613}"/>
              </a:ext>
            </a:extLst>
          </p:cNvPr>
          <p:cNvSpPr txBox="1"/>
          <p:nvPr/>
        </p:nvSpPr>
        <p:spPr>
          <a:xfrm flipH="1">
            <a:off x="7777968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…</a:t>
            </a:r>
            <a:endParaRPr lang="en-CH" sz="800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DB4F107-0B20-486B-925F-CCC9F2F1BBD8}"/>
              </a:ext>
            </a:extLst>
          </p:cNvPr>
          <p:cNvSpPr txBox="1"/>
          <p:nvPr/>
        </p:nvSpPr>
        <p:spPr>
          <a:xfrm flipH="1">
            <a:off x="700784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4</a:t>
            </a:r>
            <a:endParaRPr lang="en-CH" sz="800" dirty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0C950375-C492-4B34-9E76-A4A0CB0CA379}"/>
              </a:ext>
            </a:extLst>
          </p:cNvPr>
          <p:cNvSpPr txBox="1"/>
          <p:nvPr/>
        </p:nvSpPr>
        <p:spPr>
          <a:xfrm flipH="1">
            <a:off x="612853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3</a:t>
            </a:r>
            <a:endParaRPr lang="en-CH" sz="800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807A427-5755-456A-BF5F-0FE137BE623F}"/>
              </a:ext>
            </a:extLst>
          </p:cNvPr>
          <p:cNvSpPr txBox="1"/>
          <p:nvPr/>
        </p:nvSpPr>
        <p:spPr>
          <a:xfrm flipH="1">
            <a:off x="5358402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2</a:t>
            </a:r>
            <a:endParaRPr lang="en-CH" sz="80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CC20A2B-0990-4C85-A548-47D20B8CEC45}"/>
              </a:ext>
            </a:extLst>
          </p:cNvPr>
          <p:cNvSpPr txBox="1"/>
          <p:nvPr/>
        </p:nvSpPr>
        <p:spPr>
          <a:xfrm flipH="1">
            <a:off x="1423594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0</a:t>
            </a:r>
          </a:p>
          <a:p>
            <a:pPr algn="ctr"/>
            <a:r>
              <a:rPr lang="en-US" sz="700" dirty="0"/>
              <a:t>B 12.1</a:t>
            </a:r>
          </a:p>
          <a:p>
            <a:pPr algn="ctr"/>
            <a:r>
              <a:rPr lang="en-US" sz="700" dirty="0"/>
              <a:t>C 77.4</a:t>
            </a:r>
            <a:endParaRPr lang="en-CH" sz="700" dirty="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2225D5C-3746-4C9B-B64E-089C9C626D55}"/>
              </a:ext>
            </a:extLst>
          </p:cNvPr>
          <p:cNvSpPr txBox="1"/>
          <p:nvPr/>
        </p:nvSpPr>
        <p:spPr>
          <a:xfrm flipH="1">
            <a:off x="1745694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7.0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55.1</a:t>
            </a:r>
            <a:endParaRPr lang="en-CH" sz="700" dirty="0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013E632-F09A-4548-B3BC-A1E56DB2557B}"/>
              </a:ext>
            </a:extLst>
          </p:cNvPr>
          <p:cNvSpPr txBox="1"/>
          <p:nvPr/>
        </p:nvSpPr>
        <p:spPr>
          <a:xfrm flipH="1">
            <a:off x="2067791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5</a:t>
            </a:r>
          </a:p>
          <a:p>
            <a:pPr algn="ctr"/>
            <a:r>
              <a:rPr lang="en-US" sz="700" dirty="0"/>
              <a:t>B 15.5</a:t>
            </a:r>
          </a:p>
          <a:p>
            <a:pPr algn="ctr"/>
            <a:r>
              <a:rPr lang="en-US" sz="700" dirty="0"/>
              <a:t>D 11.4</a:t>
            </a:r>
            <a:endParaRPr lang="en-CH" sz="700" dirty="0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9FF1751A-E3A1-48A4-A4F0-CC9A8B69EB69}"/>
              </a:ext>
            </a:extLst>
          </p:cNvPr>
          <p:cNvSpPr txBox="1"/>
          <p:nvPr/>
        </p:nvSpPr>
        <p:spPr>
          <a:xfrm flipH="1">
            <a:off x="2367480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55.1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78.5</a:t>
            </a:r>
            <a:endParaRPr lang="en-CH" sz="700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206D7546-19D5-4A63-9B7D-C61C0D912C8A}"/>
              </a:ext>
            </a:extLst>
          </p:cNvPr>
          <p:cNvSpPr txBox="1"/>
          <p:nvPr/>
        </p:nvSpPr>
        <p:spPr>
          <a:xfrm flipH="1">
            <a:off x="4809726" y="339105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4</a:t>
            </a:r>
          </a:p>
          <a:p>
            <a:pPr algn="ctr"/>
            <a:r>
              <a:rPr lang="en-US" sz="700" dirty="0"/>
              <a:t>B 42.1</a:t>
            </a:r>
          </a:p>
          <a:p>
            <a:pPr algn="ctr"/>
            <a:r>
              <a:rPr lang="en-US" sz="700" dirty="0"/>
              <a:t>D 15.4</a:t>
            </a:r>
            <a:endParaRPr lang="en-CH" sz="700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C0B8D64-5F23-4DE2-A6D7-8B50BEA900D4}"/>
              </a:ext>
            </a:extLst>
          </p:cNvPr>
          <p:cNvGrpSpPr/>
          <p:nvPr/>
        </p:nvGrpSpPr>
        <p:grpSpPr>
          <a:xfrm>
            <a:off x="5653811" y="4848650"/>
            <a:ext cx="824432" cy="518256"/>
            <a:chOff x="5653811" y="4848650"/>
            <a:chExt cx="824432" cy="518256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AAD6E0C-4DC5-4CC7-893F-E6916AF84728}"/>
                </a:ext>
              </a:extLst>
            </p:cNvPr>
            <p:cNvSpPr/>
            <p:nvPr/>
          </p:nvSpPr>
          <p:spPr>
            <a:xfrm>
              <a:off x="5653811" y="4848650"/>
              <a:ext cx="824432" cy="518256"/>
            </a:xfrm>
            <a:prstGeom prst="rect">
              <a:avLst/>
            </a:prstGeom>
            <a:solidFill>
              <a:srgbClr val="92D050">
                <a:alpha val="72000"/>
              </a:srgbClr>
            </a:solidFill>
            <a:ln w="2540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 sz="1200" dirty="0"/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BF5357F9-E3FF-49C9-890A-EA54879057D0}"/>
                </a:ext>
              </a:extLst>
            </p:cNvPr>
            <p:cNvSpPr txBox="1"/>
            <p:nvPr/>
          </p:nvSpPr>
          <p:spPr>
            <a:xfrm flipH="1">
              <a:off x="5656259" y="4901617"/>
              <a:ext cx="63294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/>
                <a:t>A 45.1</a:t>
              </a:r>
            </a:p>
            <a:p>
              <a:pPr algn="ctr"/>
              <a:r>
                <a:rPr lang="en-US" sz="700" dirty="0"/>
                <a:t>B 12.5</a:t>
              </a:r>
            </a:p>
            <a:p>
              <a:pPr algn="ctr"/>
              <a:r>
                <a:rPr lang="en-US" sz="700" dirty="0"/>
                <a:t>C 77.8</a:t>
              </a:r>
              <a:endParaRPr lang="en-CH" sz="700" dirty="0"/>
            </a:p>
          </p:txBody>
        </p:sp>
      </p:grpSp>
      <p:sp>
        <p:nvSpPr>
          <p:cNvPr id="77" name="TextBox 76">
            <a:extLst>
              <a:ext uri="{FF2B5EF4-FFF2-40B4-BE49-F238E27FC236}">
                <a16:creationId xmlns:a16="http://schemas.microsoft.com/office/drawing/2014/main" id="{4783D567-0079-46BB-81C0-0CC0F9C4E1AA}"/>
              </a:ext>
            </a:extLst>
          </p:cNvPr>
          <p:cNvSpPr txBox="1"/>
          <p:nvPr/>
        </p:nvSpPr>
        <p:spPr>
          <a:xfrm flipH="1">
            <a:off x="6502792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35.0</a:t>
            </a:r>
          </a:p>
          <a:p>
            <a:pPr algn="ctr"/>
            <a:r>
              <a:rPr lang="en-US" sz="700" dirty="0"/>
              <a:t>B 15.1</a:t>
            </a:r>
          </a:p>
          <a:p>
            <a:pPr algn="ctr"/>
            <a:r>
              <a:rPr lang="en-US" sz="700" dirty="0"/>
              <a:t>C 75.5</a:t>
            </a:r>
            <a:endParaRPr lang="en-CH" sz="700" dirty="0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09EEE526-0C79-48B5-93ED-8E6FC1B3441F}"/>
              </a:ext>
            </a:extLst>
          </p:cNvPr>
          <p:cNvSpPr txBox="1"/>
          <p:nvPr/>
        </p:nvSpPr>
        <p:spPr>
          <a:xfrm flipH="1">
            <a:off x="7349327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3</a:t>
            </a:r>
          </a:p>
          <a:p>
            <a:pPr algn="ctr"/>
            <a:r>
              <a:rPr lang="en-US" sz="700" dirty="0"/>
              <a:t>B 18.9</a:t>
            </a:r>
          </a:p>
          <a:p>
            <a:pPr algn="ctr"/>
            <a:r>
              <a:rPr lang="en-US" sz="700" dirty="0"/>
              <a:t>C 67.4</a:t>
            </a:r>
            <a:endParaRPr lang="en-CH" sz="700" dirty="0"/>
          </a:p>
        </p:txBody>
      </p:sp>
      <p:sp>
        <p:nvSpPr>
          <p:cNvPr id="80" name="Right Brace 79">
            <a:extLst>
              <a:ext uri="{FF2B5EF4-FFF2-40B4-BE49-F238E27FC236}">
                <a16:creationId xmlns:a16="http://schemas.microsoft.com/office/drawing/2014/main" id="{D11D61C6-79FC-4019-84D3-78BB4A96F969}"/>
              </a:ext>
            </a:extLst>
          </p:cNvPr>
          <p:cNvSpPr/>
          <p:nvPr/>
        </p:nvSpPr>
        <p:spPr>
          <a:xfrm>
            <a:off x="10672482" y="3352531"/>
            <a:ext cx="265954" cy="201437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924614FD-70DE-45FB-B999-A572D7A1A24D}"/>
              </a:ext>
            </a:extLst>
          </p:cNvPr>
          <p:cNvSpPr txBox="1"/>
          <p:nvPr/>
        </p:nvSpPr>
        <p:spPr>
          <a:xfrm flipH="1">
            <a:off x="10940684" y="4193950"/>
            <a:ext cx="12473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View:</a:t>
            </a:r>
          </a:p>
          <a:p>
            <a:r>
              <a:rPr lang="en-US" sz="800" dirty="0"/>
              <a:t>[Core].[</a:t>
            </a:r>
            <a:r>
              <a:rPr lang="en-US" sz="800" dirty="0" err="1"/>
              <a:t>AllMeasurement</a:t>
            </a:r>
            <a:r>
              <a:rPr lang="en-US" sz="800" dirty="0"/>
              <a:t>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1909092-F4B4-408D-BE2A-52B9E39B0DDF}"/>
              </a:ext>
            </a:extLst>
          </p:cNvPr>
          <p:cNvSpPr txBox="1"/>
          <p:nvPr/>
        </p:nvSpPr>
        <p:spPr>
          <a:xfrm flipH="1">
            <a:off x="78452" y="4062327"/>
            <a:ext cx="14602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Transfer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88CE9919-E009-4594-A93A-73BDE1ABF719}"/>
              </a:ext>
            </a:extLst>
          </p:cNvPr>
          <p:cNvSpPr txBox="1"/>
          <p:nvPr/>
        </p:nvSpPr>
        <p:spPr>
          <a:xfrm flipH="1">
            <a:off x="4474711" y="4226479"/>
            <a:ext cx="15101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Step 1: </a:t>
            </a:r>
            <a:br>
              <a:rPr lang="en-US" sz="800" dirty="0"/>
            </a:br>
            <a:r>
              <a:rPr lang="en-US" sz="800" dirty="0"/>
              <a:t>Partition Switch </a:t>
            </a:r>
            <a:endParaRPr lang="en-CH" sz="800" dirty="0"/>
          </a:p>
        </p:txBody>
      </p:sp>
      <p:sp>
        <p:nvSpPr>
          <p:cNvPr id="56" name="Arrow: Curved Up 55">
            <a:extLst>
              <a:ext uri="{FF2B5EF4-FFF2-40B4-BE49-F238E27FC236}">
                <a16:creationId xmlns:a16="http://schemas.microsoft.com/office/drawing/2014/main" id="{CE25547B-F5ED-4E0F-8395-24A1878C561F}"/>
              </a:ext>
            </a:extLst>
          </p:cNvPr>
          <p:cNvSpPr/>
          <p:nvPr/>
        </p:nvSpPr>
        <p:spPr>
          <a:xfrm rot="14736374">
            <a:off x="5568357" y="3840563"/>
            <a:ext cx="1521466" cy="492646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F274957-9889-440C-8346-725C3D6B80AB}"/>
              </a:ext>
            </a:extLst>
          </p:cNvPr>
          <p:cNvSpPr txBox="1"/>
          <p:nvPr/>
        </p:nvSpPr>
        <p:spPr>
          <a:xfrm>
            <a:off x="6692921" y="4076756"/>
            <a:ext cx="2919484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84310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95833E-6 4.07407E-6 L 3.95833E-6 -0.10417 " pathEditMode="relative" rAng="0" ptsTypes="AA">
                                      <p:cBhvr>
                                        <p:cTn id="12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208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2" grpId="0" animBg="1"/>
      <p:bldP spid="6" grpId="0"/>
      <p:bldP spid="54" grpId="0"/>
      <p:bldP spid="56" grpId="0" animBg="1"/>
      <p:bldP spid="5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044F22-5CF1-4AE2-A9A8-1AC3A3FFAA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oal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0774AF2-5D04-4C2D-BA3B-00F21C9B967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e goal of the training is to share real live experience from some IoT projects</a:t>
            </a:r>
          </a:p>
          <a:p>
            <a:pPr lvl="1"/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</a:rPr>
              <a:t>Understand the purpose of the used Azure Services</a:t>
            </a:r>
          </a:p>
          <a:p>
            <a:pPr lvl="2"/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zure Storage Account</a:t>
            </a:r>
          </a:p>
          <a:p>
            <a:pPr lvl="2"/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zure IoT Hub</a:t>
            </a:r>
          </a:p>
          <a:p>
            <a:pPr lvl="2"/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zure Stream Analytics Job</a:t>
            </a:r>
          </a:p>
          <a:p>
            <a:pPr lvl="2"/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zure SQL Database</a:t>
            </a:r>
          </a:p>
          <a:p>
            <a:endParaRPr lang="en-US" sz="2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</a:rPr>
              <a:t>T</a:t>
            </a: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 enable you to setup POC environments with just a few clicks</a:t>
            </a:r>
          </a:p>
          <a:p>
            <a:pPr lvl="1"/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e share not only our knowledge but also a GitHub repo with blueprints that are ready to be deployed</a:t>
            </a:r>
          </a:p>
          <a:p>
            <a:pPr lvl="1"/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o get a POC environment that is (close to) production quality</a:t>
            </a:r>
            <a:endParaRPr lang="en-CH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US" sz="3200" dirty="0"/>
          </a:p>
          <a:p>
            <a:r>
              <a:rPr lang="en-US" sz="3200" dirty="0"/>
              <a:t>To have fun </a:t>
            </a:r>
            <a:r>
              <a:rPr lang="en-US" sz="3200" dirty="0">
                <a:sym typeface="Wingdings" panose="05000000000000000000" pitchFamily="2" charset="2"/>
              </a:rPr>
              <a:t></a:t>
            </a:r>
            <a:endParaRPr lang="en-CH" sz="3200" dirty="0"/>
          </a:p>
        </p:txBody>
      </p:sp>
    </p:spTree>
    <p:extLst>
      <p:ext uri="{BB962C8B-B14F-4D97-AF65-F5344CB8AC3E}">
        <p14:creationId xmlns:p14="http://schemas.microsoft.com/office/powerpoint/2010/main" val="21618564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5C4A83B-3262-48C0-9ABF-022CA6E86D1E}"/>
              </a:ext>
            </a:extLst>
          </p:cNvPr>
          <p:cNvCxnSpPr>
            <a:cxnSpLocks/>
          </p:cNvCxnSpPr>
          <p:nvPr/>
        </p:nvCxnSpPr>
        <p:spPr>
          <a:xfrm>
            <a:off x="4826074" y="265487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FE76807-1C26-405E-BE57-68F1AD2EC4BC}"/>
              </a:ext>
            </a:extLst>
          </p:cNvPr>
          <p:cNvCxnSpPr>
            <a:cxnSpLocks/>
          </p:cNvCxnSpPr>
          <p:nvPr/>
        </p:nvCxnSpPr>
        <p:spPr>
          <a:xfrm>
            <a:off x="1549049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1737A44-18D2-435A-AE7D-0EFE467F1C02}"/>
              </a:ext>
            </a:extLst>
          </p:cNvPr>
          <p:cNvCxnSpPr>
            <a:cxnSpLocks/>
          </p:cNvCxnSpPr>
          <p:nvPr/>
        </p:nvCxnSpPr>
        <p:spPr>
          <a:xfrm>
            <a:off x="237166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6BEFBC-3850-4769-8117-CB3C74D37165}"/>
              </a:ext>
            </a:extLst>
          </p:cNvPr>
          <p:cNvCxnSpPr>
            <a:cxnSpLocks/>
          </p:cNvCxnSpPr>
          <p:nvPr/>
        </p:nvCxnSpPr>
        <p:spPr>
          <a:xfrm>
            <a:off x="32029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39E48A0-670C-4144-AFEE-5A526400FB13}"/>
              </a:ext>
            </a:extLst>
          </p:cNvPr>
          <p:cNvCxnSpPr>
            <a:cxnSpLocks/>
          </p:cNvCxnSpPr>
          <p:nvPr/>
        </p:nvCxnSpPr>
        <p:spPr>
          <a:xfrm>
            <a:off x="40030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6817382-A1F1-42EB-982C-9751CB42BE80}"/>
              </a:ext>
            </a:extLst>
          </p:cNvPr>
          <p:cNvCxnSpPr>
            <a:cxnSpLocks/>
          </p:cNvCxnSpPr>
          <p:nvPr/>
        </p:nvCxnSpPr>
        <p:spPr>
          <a:xfrm flipH="1">
            <a:off x="5665603" y="4098694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D87EAD-4E04-46D1-802C-0D33CB097C36}"/>
              </a:ext>
            </a:extLst>
          </p:cNvPr>
          <p:cNvCxnSpPr>
            <a:cxnSpLocks/>
          </p:cNvCxnSpPr>
          <p:nvPr/>
        </p:nvCxnSpPr>
        <p:spPr>
          <a:xfrm>
            <a:off x="648821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3E05C6A-D78D-4578-BC86-C6BA722AEDFE}"/>
              </a:ext>
            </a:extLst>
          </p:cNvPr>
          <p:cNvCxnSpPr>
            <a:cxnSpLocks/>
          </p:cNvCxnSpPr>
          <p:nvPr/>
        </p:nvCxnSpPr>
        <p:spPr>
          <a:xfrm>
            <a:off x="73194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B6A4DA2-619A-4175-9E47-E5D80A5BBCA9}"/>
              </a:ext>
            </a:extLst>
          </p:cNvPr>
          <p:cNvCxnSpPr>
            <a:cxnSpLocks/>
          </p:cNvCxnSpPr>
          <p:nvPr/>
        </p:nvCxnSpPr>
        <p:spPr>
          <a:xfrm>
            <a:off x="81195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3AE67FD-D5A8-40DA-BDB7-98E0120C91BD}"/>
              </a:ext>
            </a:extLst>
          </p:cNvPr>
          <p:cNvCxnSpPr>
            <a:cxnSpLocks/>
          </p:cNvCxnSpPr>
          <p:nvPr/>
        </p:nvCxnSpPr>
        <p:spPr>
          <a:xfrm>
            <a:off x="894262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A12DC807-138F-4B3C-B705-420C36CBAADB}"/>
              </a:ext>
            </a:extLst>
          </p:cNvPr>
          <p:cNvCxnSpPr>
            <a:cxnSpLocks/>
          </p:cNvCxnSpPr>
          <p:nvPr/>
        </p:nvCxnSpPr>
        <p:spPr>
          <a:xfrm>
            <a:off x="9775623" y="4065805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1983122-51DE-4423-BB19-E192CA6B97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Details – Advanced Usage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A2D5A2-64A0-48C0-8EB0-41A24BD2BD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19438"/>
            <a:ext cx="10515600" cy="103405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/>
              <a:t>For large data history, day partitioning leads to too many partitions</a:t>
            </a:r>
          </a:p>
          <a:p>
            <a:r>
              <a:rPr lang="en-US" sz="1800" dirty="0"/>
              <a:t>There is a mixed model with day and month partitions</a:t>
            </a:r>
          </a:p>
          <a:p>
            <a:pPr lvl="1"/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DEFA573-7880-44FC-9A2D-B7E2AD3D919B}"/>
              </a:ext>
            </a:extLst>
          </p:cNvPr>
          <p:cNvSpPr/>
          <p:nvPr/>
        </p:nvSpPr>
        <p:spPr>
          <a:xfrm>
            <a:off x="153725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9E8B9050-0B48-4756-BD6C-31848982B52A}"/>
              </a:ext>
            </a:extLst>
          </p:cNvPr>
          <p:cNvCxnSpPr/>
          <p:nvPr/>
        </p:nvCxnSpPr>
        <p:spPr>
          <a:xfrm>
            <a:off x="1430752" y="5404512"/>
            <a:ext cx="10080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EA8B26F7-7C49-4F3D-8F81-EE7C45994C4F}"/>
              </a:ext>
            </a:extLst>
          </p:cNvPr>
          <p:cNvSpPr/>
          <p:nvPr/>
        </p:nvSpPr>
        <p:spPr>
          <a:xfrm>
            <a:off x="2359875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AB7BA2E-730D-4468-A5B5-5D77502C8881}"/>
              </a:ext>
            </a:extLst>
          </p:cNvPr>
          <p:cNvSpPr/>
          <p:nvPr/>
        </p:nvSpPr>
        <p:spPr>
          <a:xfrm>
            <a:off x="3182493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0C5C86-487E-48EA-BC92-4F46848BDF8A}"/>
              </a:ext>
            </a:extLst>
          </p:cNvPr>
          <p:cNvSpPr/>
          <p:nvPr/>
        </p:nvSpPr>
        <p:spPr>
          <a:xfrm>
            <a:off x="4005111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2EEBEB2-FCC0-4D64-A59F-247E8EADE52E}"/>
              </a:ext>
            </a:extLst>
          </p:cNvPr>
          <p:cNvSpPr/>
          <p:nvPr/>
        </p:nvSpPr>
        <p:spPr>
          <a:xfrm>
            <a:off x="4827728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D876776-4B7D-471C-938C-A668C2F6910F}"/>
              </a:ext>
            </a:extLst>
          </p:cNvPr>
          <p:cNvSpPr/>
          <p:nvPr/>
        </p:nvSpPr>
        <p:spPr>
          <a:xfrm>
            <a:off x="6476429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4F588E4-1EAE-4551-A9F1-B31FF5018E8C}"/>
              </a:ext>
            </a:extLst>
          </p:cNvPr>
          <p:cNvSpPr/>
          <p:nvPr/>
        </p:nvSpPr>
        <p:spPr>
          <a:xfrm>
            <a:off x="729904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D4A45AC-C864-47BA-9D22-1945BEC9286C}"/>
              </a:ext>
            </a:extLst>
          </p:cNvPr>
          <p:cNvSpPr/>
          <p:nvPr/>
        </p:nvSpPr>
        <p:spPr>
          <a:xfrm>
            <a:off x="1539026" y="3354714"/>
            <a:ext cx="3261309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2901F1D-5146-414F-B8B8-755D56314D2E}"/>
              </a:ext>
            </a:extLst>
          </p:cNvPr>
          <p:cNvSpPr/>
          <p:nvPr/>
        </p:nvSpPr>
        <p:spPr>
          <a:xfrm>
            <a:off x="4800335" y="3352531"/>
            <a:ext cx="5775387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7FE4C60-8DFC-45E5-8552-9A1DB042F823}"/>
              </a:ext>
            </a:extLst>
          </p:cNvPr>
          <p:cNvCxnSpPr>
            <a:cxnSpLocks/>
          </p:cNvCxnSpPr>
          <p:nvPr/>
        </p:nvCxnSpPr>
        <p:spPr>
          <a:xfrm>
            <a:off x="10575723" y="2658355"/>
            <a:ext cx="0" cy="28938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C513E48F-418D-476C-9189-7BAEAF86D22E}"/>
              </a:ext>
            </a:extLst>
          </p:cNvPr>
          <p:cNvCxnSpPr>
            <a:cxnSpLocks/>
          </p:cNvCxnSpPr>
          <p:nvPr/>
        </p:nvCxnSpPr>
        <p:spPr>
          <a:xfrm>
            <a:off x="10565339" y="266181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CF79E729-EA15-43B5-900A-E2FE33D1F232}"/>
              </a:ext>
            </a:extLst>
          </p:cNvPr>
          <p:cNvSpPr txBox="1"/>
          <p:nvPr/>
        </p:nvSpPr>
        <p:spPr>
          <a:xfrm flipH="1">
            <a:off x="88719" y="4877878"/>
            <a:ext cx="14658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</a:p>
          <a:p>
            <a:r>
              <a:rPr lang="en-US" sz="800" dirty="0"/>
              <a:t>[Core].[Measurement]</a:t>
            </a:r>
          </a:p>
          <a:p>
            <a:r>
              <a:rPr lang="en-US" sz="800" dirty="0"/>
              <a:t>(Day partition)</a:t>
            </a:r>
            <a:endParaRPr lang="en-CH" sz="8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5B2655C-69D5-43AF-A26B-0E2CAB0389D0}"/>
              </a:ext>
            </a:extLst>
          </p:cNvPr>
          <p:cNvSpPr txBox="1"/>
          <p:nvPr/>
        </p:nvSpPr>
        <p:spPr>
          <a:xfrm flipH="1">
            <a:off x="84936" y="3417929"/>
            <a:ext cx="1414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Store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3503891-D40A-4976-91B0-E28D7517A76F}"/>
              </a:ext>
            </a:extLst>
          </p:cNvPr>
          <p:cNvSpPr txBox="1"/>
          <p:nvPr/>
        </p:nvSpPr>
        <p:spPr>
          <a:xfrm flipH="1">
            <a:off x="4509604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1</a:t>
            </a:r>
            <a:endParaRPr lang="en-CH" sz="8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5E64E09-D9D0-4A0E-B2AC-A9D1DD55B6C5}"/>
              </a:ext>
            </a:extLst>
          </p:cNvPr>
          <p:cNvSpPr txBox="1"/>
          <p:nvPr/>
        </p:nvSpPr>
        <p:spPr>
          <a:xfrm flipH="1">
            <a:off x="10259252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301</a:t>
            </a:r>
            <a:endParaRPr lang="en-CH" sz="8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5B8A4D8-3E26-4ADC-9D0E-94E9488A6E2A}"/>
              </a:ext>
            </a:extLst>
          </p:cNvPr>
          <p:cNvSpPr txBox="1"/>
          <p:nvPr/>
        </p:nvSpPr>
        <p:spPr>
          <a:xfrm flipH="1">
            <a:off x="3673129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1</a:t>
            </a:r>
            <a:endParaRPr lang="en-CH" sz="800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4CAC4FC-5239-427F-B7E4-05DEAD6BDDA3}"/>
              </a:ext>
            </a:extLst>
          </p:cNvPr>
          <p:cNvSpPr txBox="1"/>
          <p:nvPr/>
        </p:nvSpPr>
        <p:spPr>
          <a:xfrm flipH="1">
            <a:off x="290300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0</a:t>
            </a:r>
            <a:endParaRPr lang="en-CH" sz="800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F5E441B-B3FC-432B-ADAC-0CA13FB25447}"/>
              </a:ext>
            </a:extLst>
          </p:cNvPr>
          <p:cNvSpPr txBox="1"/>
          <p:nvPr/>
        </p:nvSpPr>
        <p:spPr>
          <a:xfrm flipH="1">
            <a:off x="202369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9</a:t>
            </a:r>
            <a:endParaRPr lang="en-CH" sz="800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F02E3465-BE43-4297-B8F1-F432ABDC0524}"/>
              </a:ext>
            </a:extLst>
          </p:cNvPr>
          <p:cNvSpPr txBox="1"/>
          <p:nvPr/>
        </p:nvSpPr>
        <p:spPr>
          <a:xfrm flipH="1">
            <a:off x="1253563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8</a:t>
            </a:r>
            <a:endParaRPr lang="en-CH" sz="800" dirty="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B87F502-3127-4475-9772-4C816E0B9613}"/>
              </a:ext>
            </a:extLst>
          </p:cNvPr>
          <p:cNvSpPr txBox="1"/>
          <p:nvPr/>
        </p:nvSpPr>
        <p:spPr>
          <a:xfrm flipH="1">
            <a:off x="7777968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…</a:t>
            </a:r>
            <a:endParaRPr lang="en-CH" sz="800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DB4F107-0B20-486B-925F-CCC9F2F1BBD8}"/>
              </a:ext>
            </a:extLst>
          </p:cNvPr>
          <p:cNvSpPr txBox="1"/>
          <p:nvPr/>
        </p:nvSpPr>
        <p:spPr>
          <a:xfrm flipH="1">
            <a:off x="700784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4</a:t>
            </a:r>
            <a:endParaRPr lang="en-CH" sz="800" dirty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0C950375-C492-4B34-9E76-A4A0CB0CA379}"/>
              </a:ext>
            </a:extLst>
          </p:cNvPr>
          <p:cNvSpPr txBox="1"/>
          <p:nvPr/>
        </p:nvSpPr>
        <p:spPr>
          <a:xfrm flipH="1">
            <a:off x="612853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3</a:t>
            </a:r>
            <a:endParaRPr lang="en-CH" sz="800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807A427-5755-456A-BF5F-0FE137BE623F}"/>
              </a:ext>
            </a:extLst>
          </p:cNvPr>
          <p:cNvSpPr txBox="1"/>
          <p:nvPr/>
        </p:nvSpPr>
        <p:spPr>
          <a:xfrm flipH="1">
            <a:off x="5358402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2</a:t>
            </a:r>
            <a:endParaRPr lang="en-CH" sz="80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CC20A2B-0990-4C85-A548-47D20B8CEC45}"/>
              </a:ext>
            </a:extLst>
          </p:cNvPr>
          <p:cNvSpPr txBox="1"/>
          <p:nvPr/>
        </p:nvSpPr>
        <p:spPr>
          <a:xfrm flipH="1">
            <a:off x="1423594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0</a:t>
            </a:r>
          </a:p>
          <a:p>
            <a:pPr algn="ctr"/>
            <a:r>
              <a:rPr lang="en-US" sz="700" dirty="0"/>
              <a:t>B 12.1</a:t>
            </a:r>
          </a:p>
          <a:p>
            <a:pPr algn="ctr"/>
            <a:r>
              <a:rPr lang="en-US" sz="700" dirty="0"/>
              <a:t>C 77.4</a:t>
            </a:r>
            <a:endParaRPr lang="en-CH" sz="700" dirty="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2225D5C-3746-4C9B-B64E-089C9C626D55}"/>
              </a:ext>
            </a:extLst>
          </p:cNvPr>
          <p:cNvSpPr txBox="1"/>
          <p:nvPr/>
        </p:nvSpPr>
        <p:spPr>
          <a:xfrm flipH="1">
            <a:off x="1745694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7.0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55.1</a:t>
            </a:r>
            <a:endParaRPr lang="en-CH" sz="700" dirty="0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013E632-F09A-4548-B3BC-A1E56DB2557B}"/>
              </a:ext>
            </a:extLst>
          </p:cNvPr>
          <p:cNvSpPr txBox="1"/>
          <p:nvPr/>
        </p:nvSpPr>
        <p:spPr>
          <a:xfrm flipH="1">
            <a:off x="2067791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5</a:t>
            </a:r>
          </a:p>
          <a:p>
            <a:pPr algn="ctr"/>
            <a:r>
              <a:rPr lang="en-US" sz="700" dirty="0"/>
              <a:t>B 15.5</a:t>
            </a:r>
          </a:p>
          <a:p>
            <a:pPr algn="ctr"/>
            <a:r>
              <a:rPr lang="en-US" sz="700" dirty="0"/>
              <a:t>D 11.4</a:t>
            </a:r>
            <a:endParaRPr lang="en-CH" sz="700" dirty="0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9FF1751A-E3A1-48A4-A4F0-CC9A8B69EB69}"/>
              </a:ext>
            </a:extLst>
          </p:cNvPr>
          <p:cNvSpPr txBox="1"/>
          <p:nvPr/>
        </p:nvSpPr>
        <p:spPr>
          <a:xfrm flipH="1">
            <a:off x="2367480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55.1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78.5</a:t>
            </a:r>
            <a:endParaRPr lang="en-CH" sz="700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206D7546-19D5-4A63-9B7D-C61C0D912C8A}"/>
              </a:ext>
            </a:extLst>
          </p:cNvPr>
          <p:cNvSpPr txBox="1"/>
          <p:nvPr/>
        </p:nvSpPr>
        <p:spPr>
          <a:xfrm flipH="1">
            <a:off x="4809726" y="339105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4</a:t>
            </a:r>
          </a:p>
          <a:p>
            <a:pPr algn="ctr"/>
            <a:r>
              <a:rPr lang="en-US" sz="700" dirty="0"/>
              <a:t>B 42.1</a:t>
            </a:r>
          </a:p>
          <a:p>
            <a:pPr algn="ctr"/>
            <a:r>
              <a:rPr lang="en-US" sz="700" dirty="0"/>
              <a:t>D 15.4</a:t>
            </a:r>
            <a:endParaRPr lang="en-CH" sz="700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C0B8D64-5F23-4DE2-A6D7-8B50BEA900D4}"/>
              </a:ext>
            </a:extLst>
          </p:cNvPr>
          <p:cNvGrpSpPr/>
          <p:nvPr/>
        </p:nvGrpSpPr>
        <p:grpSpPr>
          <a:xfrm>
            <a:off x="5658090" y="4135408"/>
            <a:ext cx="824432" cy="518256"/>
            <a:chOff x="5653811" y="4848650"/>
            <a:chExt cx="824432" cy="518256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AAD6E0C-4DC5-4CC7-893F-E6916AF84728}"/>
                </a:ext>
              </a:extLst>
            </p:cNvPr>
            <p:cNvSpPr/>
            <p:nvPr/>
          </p:nvSpPr>
          <p:spPr>
            <a:xfrm>
              <a:off x="5653811" y="4848650"/>
              <a:ext cx="824432" cy="518256"/>
            </a:xfrm>
            <a:prstGeom prst="rect">
              <a:avLst/>
            </a:prstGeom>
            <a:solidFill>
              <a:srgbClr val="92D050">
                <a:alpha val="72000"/>
              </a:srgbClr>
            </a:solidFill>
            <a:ln w="2540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 sz="1200" dirty="0"/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BF5357F9-E3FF-49C9-890A-EA54879057D0}"/>
                </a:ext>
              </a:extLst>
            </p:cNvPr>
            <p:cNvSpPr txBox="1"/>
            <p:nvPr/>
          </p:nvSpPr>
          <p:spPr>
            <a:xfrm flipH="1">
              <a:off x="5656259" y="4901617"/>
              <a:ext cx="63294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/>
                <a:t>A 45.1</a:t>
              </a:r>
            </a:p>
            <a:p>
              <a:pPr algn="ctr"/>
              <a:r>
                <a:rPr lang="en-US" sz="700" dirty="0"/>
                <a:t>B 12.5</a:t>
              </a:r>
            </a:p>
            <a:p>
              <a:pPr algn="ctr"/>
              <a:r>
                <a:rPr lang="en-US" sz="700" dirty="0"/>
                <a:t>C 77.8</a:t>
              </a:r>
              <a:endParaRPr lang="en-CH" sz="700" dirty="0"/>
            </a:p>
          </p:txBody>
        </p:sp>
      </p:grpSp>
      <p:sp>
        <p:nvSpPr>
          <p:cNvPr id="77" name="TextBox 76">
            <a:extLst>
              <a:ext uri="{FF2B5EF4-FFF2-40B4-BE49-F238E27FC236}">
                <a16:creationId xmlns:a16="http://schemas.microsoft.com/office/drawing/2014/main" id="{4783D567-0079-46BB-81C0-0CC0F9C4E1AA}"/>
              </a:ext>
            </a:extLst>
          </p:cNvPr>
          <p:cNvSpPr txBox="1"/>
          <p:nvPr/>
        </p:nvSpPr>
        <p:spPr>
          <a:xfrm flipH="1">
            <a:off x="6502792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35.0</a:t>
            </a:r>
          </a:p>
          <a:p>
            <a:pPr algn="ctr"/>
            <a:r>
              <a:rPr lang="en-US" sz="700" dirty="0"/>
              <a:t>B 15.1</a:t>
            </a:r>
          </a:p>
          <a:p>
            <a:pPr algn="ctr"/>
            <a:r>
              <a:rPr lang="en-US" sz="700" dirty="0"/>
              <a:t>C 75.5</a:t>
            </a:r>
            <a:endParaRPr lang="en-CH" sz="700" dirty="0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09EEE526-0C79-48B5-93ED-8E6FC1B3441F}"/>
              </a:ext>
            </a:extLst>
          </p:cNvPr>
          <p:cNvSpPr txBox="1"/>
          <p:nvPr/>
        </p:nvSpPr>
        <p:spPr>
          <a:xfrm flipH="1">
            <a:off x="7349327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3</a:t>
            </a:r>
          </a:p>
          <a:p>
            <a:pPr algn="ctr"/>
            <a:r>
              <a:rPr lang="en-US" sz="700" dirty="0"/>
              <a:t>B 18.9</a:t>
            </a:r>
          </a:p>
          <a:p>
            <a:pPr algn="ctr"/>
            <a:r>
              <a:rPr lang="en-US" sz="700" dirty="0"/>
              <a:t>C 67.4</a:t>
            </a:r>
            <a:endParaRPr lang="en-CH" sz="700" dirty="0"/>
          </a:p>
        </p:txBody>
      </p:sp>
      <p:sp>
        <p:nvSpPr>
          <p:cNvPr id="80" name="Right Brace 79">
            <a:extLst>
              <a:ext uri="{FF2B5EF4-FFF2-40B4-BE49-F238E27FC236}">
                <a16:creationId xmlns:a16="http://schemas.microsoft.com/office/drawing/2014/main" id="{D11D61C6-79FC-4019-84D3-78BB4A96F969}"/>
              </a:ext>
            </a:extLst>
          </p:cNvPr>
          <p:cNvSpPr/>
          <p:nvPr/>
        </p:nvSpPr>
        <p:spPr>
          <a:xfrm>
            <a:off x="10672482" y="3352531"/>
            <a:ext cx="265954" cy="201437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924614FD-70DE-45FB-B999-A572D7A1A24D}"/>
              </a:ext>
            </a:extLst>
          </p:cNvPr>
          <p:cNvSpPr txBox="1"/>
          <p:nvPr/>
        </p:nvSpPr>
        <p:spPr>
          <a:xfrm flipH="1">
            <a:off x="10940684" y="4193950"/>
            <a:ext cx="12473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View:</a:t>
            </a:r>
          </a:p>
          <a:p>
            <a:r>
              <a:rPr lang="en-US" sz="800" dirty="0"/>
              <a:t>[Core].[</a:t>
            </a:r>
            <a:r>
              <a:rPr lang="en-US" sz="800" dirty="0" err="1"/>
              <a:t>AllMeasurement</a:t>
            </a:r>
            <a:r>
              <a:rPr lang="en-US" sz="800" dirty="0"/>
              <a:t>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1909092-F4B4-408D-BE2A-52B9E39B0DDF}"/>
              </a:ext>
            </a:extLst>
          </p:cNvPr>
          <p:cNvSpPr txBox="1"/>
          <p:nvPr/>
        </p:nvSpPr>
        <p:spPr>
          <a:xfrm flipH="1">
            <a:off x="78452" y="4062327"/>
            <a:ext cx="14602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Transfer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E7AEAD5-7E6E-4F80-8DB4-0F5F59AE5F87}"/>
              </a:ext>
            </a:extLst>
          </p:cNvPr>
          <p:cNvSpPr/>
          <p:nvPr/>
        </p:nvSpPr>
        <p:spPr>
          <a:xfrm>
            <a:off x="566253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FBF44A9-3011-4298-8352-7F44B650ACC2}"/>
              </a:ext>
            </a:extLst>
          </p:cNvPr>
          <p:cNvSpPr txBox="1"/>
          <p:nvPr/>
        </p:nvSpPr>
        <p:spPr>
          <a:xfrm flipH="1">
            <a:off x="5552473" y="4898441"/>
            <a:ext cx="63294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29.0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4E9FBD0-2146-44CB-B810-3C7602282CC3}"/>
              </a:ext>
            </a:extLst>
          </p:cNvPr>
          <p:cNvSpPr txBox="1"/>
          <p:nvPr/>
        </p:nvSpPr>
        <p:spPr>
          <a:xfrm flipH="1">
            <a:off x="3074337" y="4877900"/>
            <a:ext cx="63294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C 69.0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8ADBB385-FEB2-490F-AF2A-510AF71A0A29}"/>
              </a:ext>
            </a:extLst>
          </p:cNvPr>
          <p:cNvSpPr txBox="1"/>
          <p:nvPr/>
        </p:nvSpPr>
        <p:spPr>
          <a:xfrm flipH="1">
            <a:off x="4474711" y="4226479"/>
            <a:ext cx="15101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Step 1: </a:t>
            </a:r>
            <a:br>
              <a:rPr lang="en-US" sz="800" dirty="0"/>
            </a:br>
            <a:r>
              <a:rPr lang="en-US" sz="800" dirty="0"/>
              <a:t>Partition Switch </a:t>
            </a:r>
            <a:endParaRPr lang="en-CH" sz="800" dirty="0"/>
          </a:p>
        </p:txBody>
      </p:sp>
      <p:sp>
        <p:nvSpPr>
          <p:cNvPr id="62" name="Arrow: Curved Up 61">
            <a:extLst>
              <a:ext uri="{FF2B5EF4-FFF2-40B4-BE49-F238E27FC236}">
                <a16:creationId xmlns:a16="http://schemas.microsoft.com/office/drawing/2014/main" id="{C9EB0B88-530F-45FE-A7F2-4D636CB31C5B}"/>
              </a:ext>
            </a:extLst>
          </p:cNvPr>
          <p:cNvSpPr/>
          <p:nvPr/>
        </p:nvSpPr>
        <p:spPr>
          <a:xfrm rot="14736374">
            <a:off x="5568357" y="3840563"/>
            <a:ext cx="1521466" cy="492646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3F606A3B-E4B6-4ED0-9754-8CF81BC458FC}"/>
              </a:ext>
            </a:extLst>
          </p:cNvPr>
          <p:cNvSpPr txBox="1"/>
          <p:nvPr/>
        </p:nvSpPr>
        <p:spPr>
          <a:xfrm>
            <a:off x="6692921" y="4076756"/>
            <a:ext cx="2919484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38577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27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5C4A83B-3262-48C0-9ABF-022CA6E86D1E}"/>
              </a:ext>
            </a:extLst>
          </p:cNvPr>
          <p:cNvCxnSpPr>
            <a:cxnSpLocks/>
          </p:cNvCxnSpPr>
          <p:nvPr/>
        </p:nvCxnSpPr>
        <p:spPr>
          <a:xfrm>
            <a:off x="4826074" y="265487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FE76807-1C26-405E-BE57-68F1AD2EC4BC}"/>
              </a:ext>
            </a:extLst>
          </p:cNvPr>
          <p:cNvCxnSpPr>
            <a:cxnSpLocks/>
          </p:cNvCxnSpPr>
          <p:nvPr/>
        </p:nvCxnSpPr>
        <p:spPr>
          <a:xfrm>
            <a:off x="1549049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1737A44-18D2-435A-AE7D-0EFE467F1C02}"/>
              </a:ext>
            </a:extLst>
          </p:cNvPr>
          <p:cNvCxnSpPr>
            <a:cxnSpLocks/>
          </p:cNvCxnSpPr>
          <p:nvPr/>
        </p:nvCxnSpPr>
        <p:spPr>
          <a:xfrm>
            <a:off x="237166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6BEFBC-3850-4769-8117-CB3C74D37165}"/>
              </a:ext>
            </a:extLst>
          </p:cNvPr>
          <p:cNvCxnSpPr>
            <a:cxnSpLocks/>
          </p:cNvCxnSpPr>
          <p:nvPr/>
        </p:nvCxnSpPr>
        <p:spPr>
          <a:xfrm>
            <a:off x="32029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39E48A0-670C-4144-AFEE-5A526400FB13}"/>
              </a:ext>
            </a:extLst>
          </p:cNvPr>
          <p:cNvCxnSpPr>
            <a:cxnSpLocks/>
          </p:cNvCxnSpPr>
          <p:nvPr/>
        </p:nvCxnSpPr>
        <p:spPr>
          <a:xfrm>
            <a:off x="40030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6817382-A1F1-42EB-982C-9751CB42BE80}"/>
              </a:ext>
            </a:extLst>
          </p:cNvPr>
          <p:cNvCxnSpPr>
            <a:cxnSpLocks/>
          </p:cNvCxnSpPr>
          <p:nvPr/>
        </p:nvCxnSpPr>
        <p:spPr>
          <a:xfrm flipH="1">
            <a:off x="5665603" y="4098694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D87EAD-4E04-46D1-802C-0D33CB097C36}"/>
              </a:ext>
            </a:extLst>
          </p:cNvPr>
          <p:cNvCxnSpPr>
            <a:cxnSpLocks/>
          </p:cNvCxnSpPr>
          <p:nvPr/>
        </p:nvCxnSpPr>
        <p:spPr>
          <a:xfrm>
            <a:off x="648821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3E05C6A-D78D-4578-BC86-C6BA722AEDFE}"/>
              </a:ext>
            </a:extLst>
          </p:cNvPr>
          <p:cNvCxnSpPr>
            <a:cxnSpLocks/>
          </p:cNvCxnSpPr>
          <p:nvPr/>
        </p:nvCxnSpPr>
        <p:spPr>
          <a:xfrm>
            <a:off x="73194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B6A4DA2-619A-4175-9E47-E5D80A5BBCA9}"/>
              </a:ext>
            </a:extLst>
          </p:cNvPr>
          <p:cNvCxnSpPr>
            <a:cxnSpLocks/>
          </p:cNvCxnSpPr>
          <p:nvPr/>
        </p:nvCxnSpPr>
        <p:spPr>
          <a:xfrm>
            <a:off x="81195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3AE67FD-D5A8-40DA-BDB7-98E0120C91BD}"/>
              </a:ext>
            </a:extLst>
          </p:cNvPr>
          <p:cNvCxnSpPr>
            <a:cxnSpLocks/>
          </p:cNvCxnSpPr>
          <p:nvPr/>
        </p:nvCxnSpPr>
        <p:spPr>
          <a:xfrm>
            <a:off x="894262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A12DC807-138F-4B3C-B705-420C36CBAADB}"/>
              </a:ext>
            </a:extLst>
          </p:cNvPr>
          <p:cNvCxnSpPr>
            <a:cxnSpLocks/>
          </p:cNvCxnSpPr>
          <p:nvPr/>
        </p:nvCxnSpPr>
        <p:spPr>
          <a:xfrm>
            <a:off x="9775623" y="4065805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1983122-51DE-4423-BB19-E192CA6B97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Details – Advanced Usage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A2D5A2-64A0-48C0-8EB0-41A24BD2BD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19438"/>
            <a:ext cx="10515600" cy="103405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/>
              <a:t>For large data history, day partitioning leads to too many partitions</a:t>
            </a:r>
          </a:p>
          <a:p>
            <a:r>
              <a:rPr lang="en-US" sz="1800" dirty="0"/>
              <a:t>There is a mixed model with day and month partitions</a:t>
            </a:r>
          </a:p>
          <a:p>
            <a:pPr lvl="1"/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DEFA573-7880-44FC-9A2D-B7E2AD3D919B}"/>
              </a:ext>
            </a:extLst>
          </p:cNvPr>
          <p:cNvSpPr/>
          <p:nvPr/>
        </p:nvSpPr>
        <p:spPr>
          <a:xfrm>
            <a:off x="153725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9E8B9050-0B48-4756-BD6C-31848982B52A}"/>
              </a:ext>
            </a:extLst>
          </p:cNvPr>
          <p:cNvCxnSpPr/>
          <p:nvPr/>
        </p:nvCxnSpPr>
        <p:spPr>
          <a:xfrm>
            <a:off x="1430752" y="5404512"/>
            <a:ext cx="10080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EA8B26F7-7C49-4F3D-8F81-EE7C45994C4F}"/>
              </a:ext>
            </a:extLst>
          </p:cNvPr>
          <p:cNvSpPr/>
          <p:nvPr/>
        </p:nvSpPr>
        <p:spPr>
          <a:xfrm>
            <a:off x="2359875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AB7BA2E-730D-4468-A5B5-5D77502C8881}"/>
              </a:ext>
            </a:extLst>
          </p:cNvPr>
          <p:cNvSpPr/>
          <p:nvPr/>
        </p:nvSpPr>
        <p:spPr>
          <a:xfrm>
            <a:off x="3182493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0C5C86-487E-48EA-BC92-4F46848BDF8A}"/>
              </a:ext>
            </a:extLst>
          </p:cNvPr>
          <p:cNvSpPr/>
          <p:nvPr/>
        </p:nvSpPr>
        <p:spPr>
          <a:xfrm>
            <a:off x="4005111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2EEBEB2-FCC0-4D64-A59F-247E8EADE52E}"/>
              </a:ext>
            </a:extLst>
          </p:cNvPr>
          <p:cNvSpPr/>
          <p:nvPr/>
        </p:nvSpPr>
        <p:spPr>
          <a:xfrm>
            <a:off x="4827728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D876776-4B7D-471C-938C-A668C2F6910F}"/>
              </a:ext>
            </a:extLst>
          </p:cNvPr>
          <p:cNvSpPr/>
          <p:nvPr/>
        </p:nvSpPr>
        <p:spPr>
          <a:xfrm>
            <a:off x="6476429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4F588E4-1EAE-4551-A9F1-B31FF5018E8C}"/>
              </a:ext>
            </a:extLst>
          </p:cNvPr>
          <p:cNvSpPr/>
          <p:nvPr/>
        </p:nvSpPr>
        <p:spPr>
          <a:xfrm>
            <a:off x="729904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D4A45AC-C864-47BA-9D22-1945BEC9286C}"/>
              </a:ext>
            </a:extLst>
          </p:cNvPr>
          <p:cNvSpPr/>
          <p:nvPr/>
        </p:nvSpPr>
        <p:spPr>
          <a:xfrm>
            <a:off x="1539026" y="3354714"/>
            <a:ext cx="3261309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2901F1D-5146-414F-B8B8-755D56314D2E}"/>
              </a:ext>
            </a:extLst>
          </p:cNvPr>
          <p:cNvSpPr/>
          <p:nvPr/>
        </p:nvSpPr>
        <p:spPr>
          <a:xfrm>
            <a:off x="4800335" y="3352531"/>
            <a:ext cx="5775387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7FE4C60-8DFC-45E5-8552-9A1DB042F823}"/>
              </a:ext>
            </a:extLst>
          </p:cNvPr>
          <p:cNvCxnSpPr>
            <a:cxnSpLocks/>
          </p:cNvCxnSpPr>
          <p:nvPr/>
        </p:nvCxnSpPr>
        <p:spPr>
          <a:xfrm>
            <a:off x="10575723" y="2658355"/>
            <a:ext cx="0" cy="28938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C513E48F-418D-476C-9189-7BAEAF86D22E}"/>
              </a:ext>
            </a:extLst>
          </p:cNvPr>
          <p:cNvCxnSpPr>
            <a:cxnSpLocks/>
          </p:cNvCxnSpPr>
          <p:nvPr/>
        </p:nvCxnSpPr>
        <p:spPr>
          <a:xfrm>
            <a:off x="10565339" y="266181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CF79E729-EA15-43B5-900A-E2FE33D1F232}"/>
              </a:ext>
            </a:extLst>
          </p:cNvPr>
          <p:cNvSpPr txBox="1"/>
          <p:nvPr/>
        </p:nvSpPr>
        <p:spPr>
          <a:xfrm flipH="1">
            <a:off x="88719" y="4877878"/>
            <a:ext cx="14658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</a:p>
          <a:p>
            <a:r>
              <a:rPr lang="en-US" sz="800" dirty="0"/>
              <a:t>[Core].[Measurement]</a:t>
            </a:r>
          </a:p>
          <a:p>
            <a:r>
              <a:rPr lang="en-US" sz="800" dirty="0"/>
              <a:t>(Day partition)</a:t>
            </a:r>
            <a:endParaRPr lang="en-CH" sz="8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5B2655C-69D5-43AF-A26B-0E2CAB0389D0}"/>
              </a:ext>
            </a:extLst>
          </p:cNvPr>
          <p:cNvSpPr txBox="1"/>
          <p:nvPr/>
        </p:nvSpPr>
        <p:spPr>
          <a:xfrm flipH="1">
            <a:off x="84936" y="3417929"/>
            <a:ext cx="1414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Store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3503891-D40A-4976-91B0-E28D7517A76F}"/>
              </a:ext>
            </a:extLst>
          </p:cNvPr>
          <p:cNvSpPr txBox="1"/>
          <p:nvPr/>
        </p:nvSpPr>
        <p:spPr>
          <a:xfrm flipH="1">
            <a:off x="4509604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1</a:t>
            </a:r>
            <a:endParaRPr lang="en-CH" sz="8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5E64E09-D9D0-4A0E-B2AC-A9D1DD55B6C5}"/>
              </a:ext>
            </a:extLst>
          </p:cNvPr>
          <p:cNvSpPr txBox="1"/>
          <p:nvPr/>
        </p:nvSpPr>
        <p:spPr>
          <a:xfrm flipH="1">
            <a:off x="10259252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301</a:t>
            </a:r>
            <a:endParaRPr lang="en-CH" sz="8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5B8A4D8-3E26-4ADC-9D0E-94E9488A6E2A}"/>
              </a:ext>
            </a:extLst>
          </p:cNvPr>
          <p:cNvSpPr txBox="1"/>
          <p:nvPr/>
        </p:nvSpPr>
        <p:spPr>
          <a:xfrm flipH="1">
            <a:off x="3673129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1</a:t>
            </a:r>
            <a:endParaRPr lang="en-CH" sz="800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4CAC4FC-5239-427F-B7E4-05DEAD6BDDA3}"/>
              </a:ext>
            </a:extLst>
          </p:cNvPr>
          <p:cNvSpPr txBox="1"/>
          <p:nvPr/>
        </p:nvSpPr>
        <p:spPr>
          <a:xfrm flipH="1">
            <a:off x="290300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0</a:t>
            </a:r>
            <a:endParaRPr lang="en-CH" sz="800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F5E441B-B3FC-432B-ADAC-0CA13FB25447}"/>
              </a:ext>
            </a:extLst>
          </p:cNvPr>
          <p:cNvSpPr txBox="1"/>
          <p:nvPr/>
        </p:nvSpPr>
        <p:spPr>
          <a:xfrm flipH="1">
            <a:off x="202369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9</a:t>
            </a:r>
            <a:endParaRPr lang="en-CH" sz="800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F02E3465-BE43-4297-B8F1-F432ABDC0524}"/>
              </a:ext>
            </a:extLst>
          </p:cNvPr>
          <p:cNvSpPr txBox="1"/>
          <p:nvPr/>
        </p:nvSpPr>
        <p:spPr>
          <a:xfrm flipH="1">
            <a:off x="1253563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8</a:t>
            </a:r>
            <a:endParaRPr lang="en-CH" sz="800" dirty="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B87F502-3127-4475-9772-4C816E0B9613}"/>
              </a:ext>
            </a:extLst>
          </p:cNvPr>
          <p:cNvSpPr txBox="1"/>
          <p:nvPr/>
        </p:nvSpPr>
        <p:spPr>
          <a:xfrm flipH="1">
            <a:off x="7777968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…</a:t>
            </a:r>
            <a:endParaRPr lang="en-CH" sz="800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DB4F107-0B20-486B-925F-CCC9F2F1BBD8}"/>
              </a:ext>
            </a:extLst>
          </p:cNvPr>
          <p:cNvSpPr txBox="1"/>
          <p:nvPr/>
        </p:nvSpPr>
        <p:spPr>
          <a:xfrm flipH="1">
            <a:off x="700784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4</a:t>
            </a:r>
            <a:endParaRPr lang="en-CH" sz="800" dirty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0C950375-C492-4B34-9E76-A4A0CB0CA379}"/>
              </a:ext>
            </a:extLst>
          </p:cNvPr>
          <p:cNvSpPr txBox="1"/>
          <p:nvPr/>
        </p:nvSpPr>
        <p:spPr>
          <a:xfrm flipH="1">
            <a:off x="612853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3</a:t>
            </a:r>
            <a:endParaRPr lang="en-CH" sz="800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807A427-5755-456A-BF5F-0FE137BE623F}"/>
              </a:ext>
            </a:extLst>
          </p:cNvPr>
          <p:cNvSpPr txBox="1"/>
          <p:nvPr/>
        </p:nvSpPr>
        <p:spPr>
          <a:xfrm flipH="1">
            <a:off x="5358402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2</a:t>
            </a:r>
            <a:endParaRPr lang="en-CH" sz="80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CC20A2B-0990-4C85-A548-47D20B8CEC45}"/>
              </a:ext>
            </a:extLst>
          </p:cNvPr>
          <p:cNvSpPr txBox="1"/>
          <p:nvPr/>
        </p:nvSpPr>
        <p:spPr>
          <a:xfrm flipH="1">
            <a:off x="1423594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0</a:t>
            </a:r>
          </a:p>
          <a:p>
            <a:pPr algn="ctr"/>
            <a:r>
              <a:rPr lang="en-US" sz="700" dirty="0"/>
              <a:t>B 12.1</a:t>
            </a:r>
          </a:p>
          <a:p>
            <a:pPr algn="ctr"/>
            <a:r>
              <a:rPr lang="en-US" sz="700" dirty="0"/>
              <a:t>C 77.4</a:t>
            </a:r>
            <a:endParaRPr lang="en-CH" sz="700" dirty="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2225D5C-3746-4C9B-B64E-089C9C626D55}"/>
              </a:ext>
            </a:extLst>
          </p:cNvPr>
          <p:cNvSpPr txBox="1"/>
          <p:nvPr/>
        </p:nvSpPr>
        <p:spPr>
          <a:xfrm flipH="1">
            <a:off x="1745694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7.0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55.1</a:t>
            </a:r>
            <a:endParaRPr lang="en-CH" sz="700" dirty="0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013E632-F09A-4548-B3BC-A1E56DB2557B}"/>
              </a:ext>
            </a:extLst>
          </p:cNvPr>
          <p:cNvSpPr txBox="1"/>
          <p:nvPr/>
        </p:nvSpPr>
        <p:spPr>
          <a:xfrm flipH="1">
            <a:off x="2067791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5</a:t>
            </a:r>
          </a:p>
          <a:p>
            <a:pPr algn="ctr"/>
            <a:r>
              <a:rPr lang="en-US" sz="700" dirty="0"/>
              <a:t>B 15.5</a:t>
            </a:r>
          </a:p>
          <a:p>
            <a:pPr algn="ctr"/>
            <a:r>
              <a:rPr lang="en-US" sz="700" dirty="0"/>
              <a:t>D 11.4</a:t>
            </a:r>
            <a:endParaRPr lang="en-CH" sz="700" dirty="0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9FF1751A-E3A1-48A4-A4F0-CC9A8B69EB69}"/>
              </a:ext>
            </a:extLst>
          </p:cNvPr>
          <p:cNvSpPr txBox="1"/>
          <p:nvPr/>
        </p:nvSpPr>
        <p:spPr>
          <a:xfrm flipH="1">
            <a:off x="2367480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55.1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78.5</a:t>
            </a:r>
            <a:endParaRPr lang="en-CH" sz="700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206D7546-19D5-4A63-9B7D-C61C0D912C8A}"/>
              </a:ext>
            </a:extLst>
          </p:cNvPr>
          <p:cNvSpPr txBox="1"/>
          <p:nvPr/>
        </p:nvSpPr>
        <p:spPr>
          <a:xfrm flipH="1">
            <a:off x="4809726" y="339105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4</a:t>
            </a:r>
          </a:p>
          <a:p>
            <a:pPr algn="ctr"/>
            <a:r>
              <a:rPr lang="en-US" sz="700" dirty="0"/>
              <a:t>B 42.1</a:t>
            </a:r>
          </a:p>
          <a:p>
            <a:pPr algn="ctr"/>
            <a:r>
              <a:rPr lang="en-US" sz="700" dirty="0"/>
              <a:t>D 15.4</a:t>
            </a:r>
            <a:endParaRPr lang="en-CH" sz="7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AAD6E0C-4DC5-4CC7-893F-E6916AF84728}"/>
              </a:ext>
            </a:extLst>
          </p:cNvPr>
          <p:cNvSpPr/>
          <p:nvPr/>
        </p:nvSpPr>
        <p:spPr>
          <a:xfrm>
            <a:off x="5658090" y="4135408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BF5357F9-E3FF-49C9-890A-EA54879057D0}"/>
              </a:ext>
            </a:extLst>
          </p:cNvPr>
          <p:cNvSpPr txBox="1"/>
          <p:nvPr/>
        </p:nvSpPr>
        <p:spPr>
          <a:xfrm flipH="1">
            <a:off x="5660538" y="4188375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1</a:t>
            </a:r>
          </a:p>
          <a:p>
            <a:pPr algn="ctr"/>
            <a:r>
              <a:rPr lang="en-US" sz="700" dirty="0"/>
              <a:t>B 12.5</a:t>
            </a:r>
          </a:p>
          <a:p>
            <a:pPr algn="ctr"/>
            <a:r>
              <a:rPr lang="en-US" sz="700" dirty="0"/>
              <a:t>C 77.8</a:t>
            </a:r>
            <a:endParaRPr lang="en-CH" sz="700" dirty="0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4783D567-0079-46BB-81C0-0CC0F9C4E1AA}"/>
              </a:ext>
            </a:extLst>
          </p:cNvPr>
          <p:cNvSpPr txBox="1"/>
          <p:nvPr/>
        </p:nvSpPr>
        <p:spPr>
          <a:xfrm flipH="1">
            <a:off x="6502792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35.0</a:t>
            </a:r>
          </a:p>
          <a:p>
            <a:pPr algn="ctr"/>
            <a:r>
              <a:rPr lang="en-US" sz="700" dirty="0"/>
              <a:t>B 15.1</a:t>
            </a:r>
          </a:p>
          <a:p>
            <a:pPr algn="ctr"/>
            <a:r>
              <a:rPr lang="en-US" sz="700" dirty="0"/>
              <a:t>C 75.5</a:t>
            </a:r>
            <a:endParaRPr lang="en-CH" sz="700" dirty="0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09EEE526-0C79-48B5-93ED-8E6FC1B3441F}"/>
              </a:ext>
            </a:extLst>
          </p:cNvPr>
          <p:cNvSpPr txBox="1"/>
          <p:nvPr/>
        </p:nvSpPr>
        <p:spPr>
          <a:xfrm flipH="1">
            <a:off x="7349327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3</a:t>
            </a:r>
          </a:p>
          <a:p>
            <a:pPr algn="ctr"/>
            <a:r>
              <a:rPr lang="en-US" sz="700" dirty="0"/>
              <a:t>B 18.9</a:t>
            </a:r>
          </a:p>
          <a:p>
            <a:pPr algn="ctr"/>
            <a:r>
              <a:rPr lang="en-US" sz="700" dirty="0"/>
              <a:t>C 67.4</a:t>
            </a:r>
            <a:endParaRPr lang="en-CH" sz="700" dirty="0"/>
          </a:p>
        </p:txBody>
      </p:sp>
      <p:sp>
        <p:nvSpPr>
          <p:cNvPr id="80" name="Right Brace 79">
            <a:extLst>
              <a:ext uri="{FF2B5EF4-FFF2-40B4-BE49-F238E27FC236}">
                <a16:creationId xmlns:a16="http://schemas.microsoft.com/office/drawing/2014/main" id="{D11D61C6-79FC-4019-84D3-78BB4A96F969}"/>
              </a:ext>
            </a:extLst>
          </p:cNvPr>
          <p:cNvSpPr/>
          <p:nvPr/>
        </p:nvSpPr>
        <p:spPr>
          <a:xfrm>
            <a:off x="10672482" y="3352531"/>
            <a:ext cx="265954" cy="201437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924614FD-70DE-45FB-B999-A572D7A1A24D}"/>
              </a:ext>
            </a:extLst>
          </p:cNvPr>
          <p:cNvSpPr txBox="1"/>
          <p:nvPr/>
        </p:nvSpPr>
        <p:spPr>
          <a:xfrm flipH="1">
            <a:off x="10940684" y="4193950"/>
            <a:ext cx="12473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View:</a:t>
            </a:r>
          </a:p>
          <a:p>
            <a:r>
              <a:rPr lang="en-US" sz="800" dirty="0"/>
              <a:t>[Core].[</a:t>
            </a:r>
            <a:r>
              <a:rPr lang="en-US" sz="800" dirty="0" err="1"/>
              <a:t>AllMeasurement</a:t>
            </a:r>
            <a:r>
              <a:rPr lang="en-US" sz="800" dirty="0"/>
              <a:t>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1909092-F4B4-408D-BE2A-52B9E39B0DDF}"/>
              </a:ext>
            </a:extLst>
          </p:cNvPr>
          <p:cNvSpPr txBox="1"/>
          <p:nvPr/>
        </p:nvSpPr>
        <p:spPr>
          <a:xfrm flipH="1">
            <a:off x="78452" y="4062327"/>
            <a:ext cx="14602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Transfer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E7AEAD5-7E6E-4F80-8DB4-0F5F59AE5F87}"/>
              </a:ext>
            </a:extLst>
          </p:cNvPr>
          <p:cNvSpPr/>
          <p:nvPr/>
        </p:nvSpPr>
        <p:spPr>
          <a:xfrm>
            <a:off x="566253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FBF44A9-3011-4298-8352-7F44B650ACC2}"/>
              </a:ext>
            </a:extLst>
          </p:cNvPr>
          <p:cNvSpPr txBox="1"/>
          <p:nvPr/>
        </p:nvSpPr>
        <p:spPr>
          <a:xfrm flipH="1">
            <a:off x="5552473" y="4898441"/>
            <a:ext cx="63294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29.0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4E9FBD0-2146-44CB-B810-3C7602282CC3}"/>
              </a:ext>
            </a:extLst>
          </p:cNvPr>
          <p:cNvSpPr txBox="1"/>
          <p:nvPr/>
        </p:nvSpPr>
        <p:spPr>
          <a:xfrm flipH="1">
            <a:off x="3074337" y="4877900"/>
            <a:ext cx="63294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C 69.0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3AC2854-1C18-44A4-A42C-D5A5842EEF41}"/>
              </a:ext>
            </a:extLst>
          </p:cNvPr>
          <p:cNvSpPr txBox="1"/>
          <p:nvPr/>
        </p:nvSpPr>
        <p:spPr>
          <a:xfrm flipH="1">
            <a:off x="5987929" y="3446773"/>
            <a:ext cx="15101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Step 2: </a:t>
            </a:r>
            <a:br>
              <a:rPr lang="en-US" sz="800" dirty="0"/>
            </a:br>
            <a:r>
              <a:rPr lang="en-US" sz="800" dirty="0"/>
              <a:t>Copy rows  </a:t>
            </a:r>
            <a:endParaRPr lang="en-CH" sz="800" dirty="0"/>
          </a:p>
        </p:txBody>
      </p:sp>
      <p:sp>
        <p:nvSpPr>
          <p:cNvPr id="58" name="Arrow: Curved Up 57">
            <a:extLst>
              <a:ext uri="{FF2B5EF4-FFF2-40B4-BE49-F238E27FC236}">
                <a16:creationId xmlns:a16="http://schemas.microsoft.com/office/drawing/2014/main" id="{8E8E1CB7-EE26-47B5-95C4-49DDB0E4347B}"/>
              </a:ext>
            </a:extLst>
          </p:cNvPr>
          <p:cNvSpPr/>
          <p:nvPr/>
        </p:nvSpPr>
        <p:spPr>
          <a:xfrm rot="14736374">
            <a:off x="5568357" y="3840563"/>
            <a:ext cx="1521466" cy="492646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AA1A6CD-6853-4E6F-BAA3-9CDD1DBAB3E9}"/>
              </a:ext>
            </a:extLst>
          </p:cNvPr>
          <p:cNvSpPr txBox="1"/>
          <p:nvPr/>
        </p:nvSpPr>
        <p:spPr>
          <a:xfrm>
            <a:off x="6692921" y="4076756"/>
            <a:ext cx="2919484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62" name="Picture 4" descr="Meeting schedule icon Royalty Free Vector Image">
            <a:extLst>
              <a:ext uri="{FF2B5EF4-FFF2-40B4-BE49-F238E27FC236}">
                <a16:creationId xmlns:a16="http://schemas.microsoft.com/office/drawing/2014/main" id="{5EA98EDB-8CBA-420D-9AB3-CE25F57FC5D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53" t="17878" r="18725" b="26218"/>
          <a:stretch/>
        </p:blipFill>
        <p:spPr bwMode="auto">
          <a:xfrm>
            <a:off x="9422346" y="3987560"/>
            <a:ext cx="507479" cy="477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B6B0D8A5-078E-432E-901A-8698C0093FDD}"/>
              </a:ext>
            </a:extLst>
          </p:cNvPr>
          <p:cNvSpPr txBox="1"/>
          <p:nvPr/>
        </p:nvSpPr>
        <p:spPr>
          <a:xfrm flipH="1">
            <a:off x="4474711" y="4226479"/>
            <a:ext cx="15101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Step 1: </a:t>
            </a:r>
            <a:br>
              <a:rPr lang="en-US" sz="800" dirty="0"/>
            </a:br>
            <a:r>
              <a:rPr lang="en-US" sz="800" dirty="0"/>
              <a:t>Partition Switch </a:t>
            </a:r>
            <a:endParaRPr lang="en-CH" sz="800" dirty="0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0BE9B2EF-1006-4B0C-A5F8-E7963106FE17}"/>
              </a:ext>
            </a:extLst>
          </p:cNvPr>
          <p:cNvSpPr txBox="1"/>
          <p:nvPr/>
        </p:nvSpPr>
        <p:spPr>
          <a:xfrm>
            <a:off x="1373112" y="6006066"/>
            <a:ext cx="9911956" cy="2616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pyMeasurementFromTs_DayToTs_Day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FromTs_Day 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20211211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MoveDaysBack 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4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OffsetMillisecond 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</a:t>
            </a:r>
            <a:endParaRPr lang="en-CH" sz="11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6" name="Callout: Bent Line 65">
            <a:extLst>
              <a:ext uri="{FF2B5EF4-FFF2-40B4-BE49-F238E27FC236}">
                <a16:creationId xmlns:a16="http://schemas.microsoft.com/office/drawing/2014/main" id="{8E04715A-067B-4E24-89B3-77D6F0856E96}"/>
              </a:ext>
            </a:extLst>
          </p:cNvPr>
          <p:cNvSpPr/>
          <p:nvPr/>
        </p:nvSpPr>
        <p:spPr>
          <a:xfrm>
            <a:off x="4750655" y="6367531"/>
            <a:ext cx="3027313" cy="313787"/>
          </a:xfrm>
          <a:prstGeom prst="borderCallout2">
            <a:avLst>
              <a:gd name="adj1" fmla="val 47692"/>
              <a:gd name="adj2" fmla="val -1824"/>
              <a:gd name="adj3" fmla="val 49980"/>
              <a:gd name="adj4" fmla="val -33153"/>
              <a:gd name="adj5" fmla="val -36339"/>
              <a:gd name="adj6" fmla="val -4913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Helpful SP to generate test data</a:t>
            </a:r>
          </a:p>
        </p:txBody>
      </p:sp>
    </p:spTree>
    <p:extLst>
      <p:ext uri="{BB962C8B-B14F-4D97-AF65-F5344CB8AC3E}">
        <p14:creationId xmlns:p14="http://schemas.microsoft.com/office/powerpoint/2010/main" val="40025524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42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375E-6 -2.22222E-6 L -0.03697 -0.1162 " pathEditMode="relative" rAng="0" ptsTypes="AA">
                                      <p:cBhvr>
                                        <p:cTn id="9" dur="5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49" y="-581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0"/>
                            </p:stCondLst>
                            <p:childTnLst>
                              <p:par>
                                <p:cTn id="11" presetID="10" presetClass="exit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500"/>
                            </p:stCondLst>
                            <p:childTnLst>
                              <p:par>
                                <p:cTn id="1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75" grpId="0"/>
      <p:bldP spid="29" grpId="0"/>
      <p:bldP spid="64" grpId="0" animBg="1"/>
      <p:bldP spid="66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558F83-F311-4432-9B58-E1E372A56C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Details – Advanced Usage -2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E53CAFA-F77F-4BD2-A2B0-E5DAC3A28C41}"/>
              </a:ext>
            </a:extLst>
          </p:cNvPr>
          <p:cNvSpPr txBox="1"/>
          <p:nvPr/>
        </p:nvSpPr>
        <p:spPr>
          <a:xfrm>
            <a:off x="954741" y="1552378"/>
            <a:ext cx="10600765" cy="461664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Stor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Ts]        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AL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VARCHAR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4000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4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nthPartitionSchem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NCLUSTERE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DEX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CIX_CoreMeasurementStoreTsTs_DaySignalI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Stor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b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A_COMPRESSIO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GE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nthPartitionSchem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STERED</a:t>
            </a:r>
            <a:r>
              <a:rPr lang="en-US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LUMNSTORE</a:t>
            </a:r>
            <a:r>
              <a:rPr lang="en-US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DEX</a:t>
            </a:r>
            <a:r>
              <a:rPr lang="en-US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CI_Core_MeasurementStor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Stor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nthPartitionSchem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916242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0B836E-35B3-4577-A621-B8D440B731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ick Overview of data in the database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5B9A30-8431-4C9C-9FAD-5943BCB102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40712" y="1526292"/>
            <a:ext cx="9734621" cy="2615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OverviewOfDataInDatabas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DB1CA6D-29C7-4967-94B9-D29EB810CA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0712" y="1922732"/>
            <a:ext cx="9734621" cy="1624024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586AB83-F02E-4FC6-8E15-343EBF4D17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0712" y="3706293"/>
            <a:ext cx="4329144" cy="1695462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64C3081-216A-4F4A-AEC6-721499B7385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40771" y="3706293"/>
            <a:ext cx="2819421" cy="552454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CA063B6-8C38-45BC-A61F-BB8B1D40AA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0712" y="5627469"/>
            <a:ext cx="9734621" cy="403026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83435831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Rectangle 101">
            <a:extLst>
              <a:ext uri="{FF2B5EF4-FFF2-40B4-BE49-F238E27FC236}">
                <a16:creationId xmlns:a16="http://schemas.microsoft.com/office/drawing/2014/main" id="{2A1AF071-DBE0-4CAD-A1F4-A313B65BFFD7}"/>
              </a:ext>
            </a:extLst>
          </p:cNvPr>
          <p:cNvSpPr/>
          <p:nvPr/>
        </p:nvSpPr>
        <p:spPr>
          <a:xfrm>
            <a:off x="1542977" y="3953780"/>
            <a:ext cx="3261309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963849-9A10-4D9F-8F11-381E60BD4D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move Data from Measurement&lt;XXX&gt; table</a:t>
            </a:r>
            <a:endParaRPr lang="en-CH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EE070EB-F6A6-42CC-B03D-032698F830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4089" y="1440741"/>
            <a:ext cx="3777640" cy="828681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A3D5A43-8CEB-4589-A4DC-733637576455}"/>
              </a:ext>
            </a:extLst>
          </p:cNvPr>
          <p:cNvSpPr txBox="1"/>
          <p:nvPr/>
        </p:nvSpPr>
        <p:spPr>
          <a:xfrm>
            <a:off x="934089" y="2370809"/>
            <a:ext cx="5257588" cy="11079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>
                <a:shade val="5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UT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Partition]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moveDataPartitionsFromTabl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SchemaName         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Core'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Nam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  <a:r>
              <a:rPr lang="de-CH" sz="11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Store</a:t>
            </a:r>
            <a:r>
              <a:rPr lang="de-CH" sz="11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_LowWaterMark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20211201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_HighWaterMark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20211231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erveSwitchOutTabl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3D8051D-65C5-4468-BABB-75D349C3DB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9646" y="1440741"/>
            <a:ext cx="2976584" cy="828681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51ED71B-E90F-4F32-8D57-2F20AF65784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693"/>
          <a:stretch/>
        </p:blipFill>
        <p:spPr>
          <a:xfrm>
            <a:off x="6319646" y="2370810"/>
            <a:ext cx="5257588" cy="1127266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11A0195-9D95-460B-ADFF-8057BDA807B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33165" y="1512867"/>
            <a:ext cx="2790845" cy="538166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0E551199-6A41-49DE-BE3B-255185FE53A4}"/>
              </a:ext>
            </a:extLst>
          </p:cNvPr>
          <p:cNvCxnSpPr>
            <a:cxnSpLocks/>
          </p:cNvCxnSpPr>
          <p:nvPr/>
        </p:nvCxnSpPr>
        <p:spPr>
          <a:xfrm flipH="1">
            <a:off x="4830025" y="3805522"/>
            <a:ext cx="1654" cy="147947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71DEA6D-633D-44BC-88C7-B7B1F442DE09}"/>
              </a:ext>
            </a:extLst>
          </p:cNvPr>
          <p:cNvCxnSpPr>
            <a:cxnSpLocks/>
          </p:cNvCxnSpPr>
          <p:nvPr/>
        </p:nvCxnSpPr>
        <p:spPr>
          <a:xfrm>
            <a:off x="1553000" y="4540758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2DB587F-4D4F-450C-A065-657E759DAF19}"/>
              </a:ext>
            </a:extLst>
          </p:cNvPr>
          <p:cNvCxnSpPr>
            <a:cxnSpLocks/>
          </p:cNvCxnSpPr>
          <p:nvPr/>
        </p:nvCxnSpPr>
        <p:spPr>
          <a:xfrm>
            <a:off x="2375615" y="453665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8DCD98A-7E21-468B-9C67-FC7ECE61DA46}"/>
              </a:ext>
            </a:extLst>
          </p:cNvPr>
          <p:cNvCxnSpPr>
            <a:cxnSpLocks/>
          </p:cNvCxnSpPr>
          <p:nvPr/>
        </p:nvCxnSpPr>
        <p:spPr>
          <a:xfrm>
            <a:off x="3206895" y="453665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3D87203-79C8-4B51-9A32-1BE6B721DC9D}"/>
              </a:ext>
            </a:extLst>
          </p:cNvPr>
          <p:cNvCxnSpPr>
            <a:cxnSpLocks/>
          </p:cNvCxnSpPr>
          <p:nvPr/>
        </p:nvCxnSpPr>
        <p:spPr>
          <a:xfrm>
            <a:off x="4006995" y="453665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E1D047F-BC22-4379-872B-69F3AC08AD83}"/>
              </a:ext>
            </a:extLst>
          </p:cNvPr>
          <p:cNvCxnSpPr>
            <a:cxnSpLocks/>
          </p:cNvCxnSpPr>
          <p:nvPr/>
        </p:nvCxnSpPr>
        <p:spPr>
          <a:xfrm flipH="1">
            <a:off x="5669554" y="4573021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4DBB6CD-6F9F-4491-BC38-0603C327CB0D}"/>
              </a:ext>
            </a:extLst>
          </p:cNvPr>
          <p:cNvCxnSpPr>
            <a:cxnSpLocks/>
          </p:cNvCxnSpPr>
          <p:nvPr/>
        </p:nvCxnSpPr>
        <p:spPr>
          <a:xfrm>
            <a:off x="6492169" y="454359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513F2AF7-0D10-4BBC-A0D5-7D856173E892}"/>
              </a:ext>
            </a:extLst>
          </p:cNvPr>
          <p:cNvCxnSpPr>
            <a:cxnSpLocks/>
          </p:cNvCxnSpPr>
          <p:nvPr/>
        </p:nvCxnSpPr>
        <p:spPr>
          <a:xfrm>
            <a:off x="7323449" y="454359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E3A3D06B-71D7-4570-BCFF-BF795440F382}"/>
              </a:ext>
            </a:extLst>
          </p:cNvPr>
          <p:cNvCxnSpPr>
            <a:cxnSpLocks/>
          </p:cNvCxnSpPr>
          <p:nvPr/>
        </p:nvCxnSpPr>
        <p:spPr>
          <a:xfrm>
            <a:off x="8123549" y="454359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72A2C561-0775-4D61-B777-71D6D344A8CA}"/>
              </a:ext>
            </a:extLst>
          </p:cNvPr>
          <p:cNvCxnSpPr>
            <a:cxnSpLocks/>
          </p:cNvCxnSpPr>
          <p:nvPr/>
        </p:nvCxnSpPr>
        <p:spPr>
          <a:xfrm>
            <a:off x="8946579" y="454359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4C2E27B0-873F-4A9B-B9E8-AD6144142749}"/>
              </a:ext>
            </a:extLst>
          </p:cNvPr>
          <p:cNvCxnSpPr>
            <a:cxnSpLocks/>
          </p:cNvCxnSpPr>
          <p:nvPr/>
        </p:nvCxnSpPr>
        <p:spPr>
          <a:xfrm>
            <a:off x="9779574" y="4540132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131BD8E3-23E3-4143-9B0D-22E9481D734B}"/>
              </a:ext>
            </a:extLst>
          </p:cNvPr>
          <p:cNvSpPr/>
          <p:nvPr/>
        </p:nvSpPr>
        <p:spPr>
          <a:xfrm>
            <a:off x="1541208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052F699E-AFE3-412F-AEAD-A9BEE32D3BE1}"/>
              </a:ext>
            </a:extLst>
          </p:cNvPr>
          <p:cNvCxnSpPr>
            <a:cxnSpLocks/>
          </p:cNvCxnSpPr>
          <p:nvPr/>
        </p:nvCxnSpPr>
        <p:spPr>
          <a:xfrm>
            <a:off x="1434703" y="5140767"/>
            <a:ext cx="10080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9CE639E9-9DEE-41E1-BC38-E35916BC81FB}"/>
              </a:ext>
            </a:extLst>
          </p:cNvPr>
          <p:cNvSpPr/>
          <p:nvPr/>
        </p:nvSpPr>
        <p:spPr>
          <a:xfrm>
            <a:off x="2363826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48872012-5E37-42DD-B782-087B2B13E95F}"/>
              </a:ext>
            </a:extLst>
          </p:cNvPr>
          <p:cNvSpPr/>
          <p:nvPr/>
        </p:nvSpPr>
        <p:spPr>
          <a:xfrm>
            <a:off x="3186444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D2C2CF2E-595F-4514-AFC0-81BE79AC342E}"/>
              </a:ext>
            </a:extLst>
          </p:cNvPr>
          <p:cNvSpPr/>
          <p:nvPr/>
        </p:nvSpPr>
        <p:spPr>
          <a:xfrm>
            <a:off x="4009062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FC6A4099-6530-4AF7-A584-7A8918A4499F}"/>
              </a:ext>
            </a:extLst>
          </p:cNvPr>
          <p:cNvSpPr/>
          <p:nvPr/>
        </p:nvSpPr>
        <p:spPr>
          <a:xfrm>
            <a:off x="4831679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46D39B1-8166-49F0-AFC5-7DE3A5F9B8EA}"/>
              </a:ext>
            </a:extLst>
          </p:cNvPr>
          <p:cNvSpPr/>
          <p:nvPr/>
        </p:nvSpPr>
        <p:spPr>
          <a:xfrm>
            <a:off x="5657762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FF6E4E1-4252-4215-9E6E-563943B2E836}"/>
              </a:ext>
            </a:extLst>
          </p:cNvPr>
          <p:cNvSpPr/>
          <p:nvPr/>
        </p:nvSpPr>
        <p:spPr>
          <a:xfrm>
            <a:off x="6480380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76824217-F197-446B-B5E0-ACF08B16AFF5}"/>
              </a:ext>
            </a:extLst>
          </p:cNvPr>
          <p:cNvSpPr/>
          <p:nvPr/>
        </p:nvSpPr>
        <p:spPr>
          <a:xfrm>
            <a:off x="7302998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0CB3E070-45EF-4F92-8CFE-5FA08E6060FE}"/>
              </a:ext>
            </a:extLst>
          </p:cNvPr>
          <p:cNvSpPr/>
          <p:nvPr/>
        </p:nvSpPr>
        <p:spPr>
          <a:xfrm>
            <a:off x="4804286" y="3949874"/>
            <a:ext cx="5775387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27AFACBF-9EA9-4D4B-97A9-092ADB79D63E}"/>
              </a:ext>
            </a:extLst>
          </p:cNvPr>
          <p:cNvCxnSpPr>
            <a:cxnSpLocks/>
          </p:cNvCxnSpPr>
          <p:nvPr/>
        </p:nvCxnSpPr>
        <p:spPr>
          <a:xfrm>
            <a:off x="10569290" y="3805522"/>
            <a:ext cx="0" cy="148641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76757570-AEDB-45BA-A155-68443581071C}"/>
              </a:ext>
            </a:extLst>
          </p:cNvPr>
          <p:cNvSpPr txBox="1"/>
          <p:nvPr/>
        </p:nvSpPr>
        <p:spPr>
          <a:xfrm flipH="1">
            <a:off x="92670" y="4634642"/>
            <a:ext cx="14658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</a:p>
          <a:p>
            <a:r>
              <a:rPr lang="en-US" sz="800" dirty="0"/>
              <a:t>[Core].[Measurement]</a:t>
            </a:r>
          </a:p>
          <a:p>
            <a:r>
              <a:rPr lang="en-US" sz="800" dirty="0"/>
              <a:t>(Day partition)</a:t>
            </a:r>
            <a:endParaRPr lang="en-CH" sz="800" dirty="0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5160FD9E-B153-45CE-B741-D4627ADC179C}"/>
              </a:ext>
            </a:extLst>
          </p:cNvPr>
          <p:cNvSpPr txBox="1"/>
          <p:nvPr/>
        </p:nvSpPr>
        <p:spPr>
          <a:xfrm flipH="1">
            <a:off x="88887" y="3961980"/>
            <a:ext cx="1414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Store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4F6D4C48-3474-43E7-A0AE-586DB7E7B89B}"/>
              </a:ext>
            </a:extLst>
          </p:cNvPr>
          <p:cNvSpPr txBox="1"/>
          <p:nvPr/>
        </p:nvSpPr>
        <p:spPr>
          <a:xfrm flipH="1">
            <a:off x="4513555" y="547308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20101</a:t>
            </a:r>
            <a:endParaRPr lang="en-CH" sz="800" dirty="0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EA623CCD-8096-4FE7-88BA-3F33F88B6383}"/>
              </a:ext>
            </a:extLst>
          </p:cNvPr>
          <p:cNvSpPr txBox="1"/>
          <p:nvPr/>
        </p:nvSpPr>
        <p:spPr>
          <a:xfrm flipH="1">
            <a:off x="10263203" y="547308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20201</a:t>
            </a:r>
            <a:endParaRPr lang="en-CH" sz="800" dirty="0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0946C945-6334-4652-AFC3-E5E2A56890FC}"/>
              </a:ext>
            </a:extLst>
          </p:cNvPr>
          <p:cNvSpPr txBox="1"/>
          <p:nvPr/>
        </p:nvSpPr>
        <p:spPr>
          <a:xfrm flipH="1">
            <a:off x="3677080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1231</a:t>
            </a:r>
            <a:endParaRPr lang="en-CH" sz="800" dirty="0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BA7AAA11-44E7-45CB-83BC-D76D353ADE4E}"/>
              </a:ext>
            </a:extLst>
          </p:cNvPr>
          <p:cNvSpPr txBox="1"/>
          <p:nvPr/>
        </p:nvSpPr>
        <p:spPr>
          <a:xfrm flipH="1">
            <a:off x="2906952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1230</a:t>
            </a:r>
            <a:endParaRPr lang="en-CH" sz="800" dirty="0"/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BAC73CC1-EFDD-4A77-97A2-3EF5E6902198}"/>
              </a:ext>
            </a:extLst>
          </p:cNvPr>
          <p:cNvSpPr txBox="1"/>
          <p:nvPr/>
        </p:nvSpPr>
        <p:spPr>
          <a:xfrm flipH="1">
            <a:off x="2027642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1229</a:t>
            </a:r>
            <a:endParaRPr lang="en-CH" sz="800" dirty="0"/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D6C31422-9D27-4523-B847-A636A93E6AD5}"/>
              </a:ext>
            </a:extLst>
          </p:cNvPr>
          <p:cNvSpPr txBox="1"/>
          <p:nvPr/>
        </p:nvSpPr>
        <p:spPr>
          <a:xfrm flipH="1">
            <a:off x="1257514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1228</a:t>
            </a:r>
            <a:endParaRPr lang="en-CH" sz="800" dirty="0"/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E6DCA2A1-901D-4220-9969-9B3A32A34E8C}"/>
              </a:ext>
            </a:extLst>
          </p:cNvPr>
          <p:cNvSpPr txBox="1"/>
          <p:nvPr/>
        </p:nvSpPr>
        <p:spPr>
          <a:xfrm flipH="1">
            <a:off x="7781919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…</a:t>
            </a:r>
            <a:endParaRPr lang="en-CH" sz="800" dirty="0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FE10891A-F663-41AB-8D0B-99AD3CFB1108}"/>
              </a:ext>
            </a:extLst>
          </p:cNvPr>
          <p:cNvSpPr txBox="1"/>
          <p:nvPr/>
        </p:nvSpPr>
        <p:spPr>
          <a:xfrm flipH="1">
            <a:off x="7011791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20104</a:t>
            </a:r>
            <a:endParaRPr lang="en-CH" sz="800" dirty="0"/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D5F78CCE-107A-4BA2-B881-18F84A150156}"/>
              </a:ext>
            </a:extLst>
          </p:cNvPr>
          <p:cNvSpPr txBox="1"/>
          <p:nvPr/>
        </p:nvSpPr>
        <p:spPr>
          <a:xfrm flipH="1">
            <a:off x="6132481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20103</a:t>
            </a:r>
            <a:endParaRPr lang="en-CH" sz="800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0357ED43-446D-4F86-A465-109A97F65B58}"/>
              </a:ext>
            </a:extLst>
          </p:cNvPr>
          <p:cNvSpPr txBox="1"/>
          <p:nvPr/>
        </p:nvSpPr>
        <p:spPr>
          <a:xfrm flipH="1">
            <a:off x="5362353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20102</a:t>
            </a:r>
            <a:endParaRPr lang="en-CH" sz="800" dirty="0"/>
          </a:p>
        </p:txBody>
      </p: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7687BE07-0069-4425-8D4A-B44C6AB0DD82}"/>
              </a:ext>
            </a:extLst>
          </p:cNvPr>
          <p:cNvGrpSpPr/>
          <p:nvPr/>
        </p:nvGrpSpPr>
        <p:grpSpPr>
          <a:xfrm>
            <a:off x="1433493" y="3952057"/>
            <a:ext cx="3370793" cy="518256"/>
            <a:chOff x="1433493" y="3952057"/>
            <a:chExt cx="3370793" cy="518256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820171EA-6D5A-4001-A2CE-3A263996160B}"/>
                </a:ext>
              </a:extLst>
            </p:cNvPr>
            <p:cNvSpPr/>
            <p:nvPr/>
          </p:nvSpPr>
          <p:spPr>
            <a:xfrm>
              <a:off x="1542977" y="3952057"/>
              <a:ext cx="3261309" cy="518256"/>
            </a:xfrm>
            <a:prstGeom prst="rect">
              <a:avLst/>
            </a:prstGeom>
            <a:solidFill>
              <a:srgbClr val="92D050">
                <a:alpha val="72000"/>
              </a:srgbClr>
            </a:solidFill>
            <a:ln w="2540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 sz="1200" dirty="0"/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A2A38BC7-8396-4D42-B8BF-3F77B568DFB2}"/>
                </a:ext>
              </a:extLst>
            </p:cNvPr>
            <p:cNvSpPr txBox="1"/>
            <p:nvPr/>
          </p:nvSpPr>
          <p:spPr>
            <a:xfrm flipH="1">
              <a:off x="1433493" y="4025175"/>
              <a:ext cx="63294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/>
                <a:t>A 45.0</a:t>
              </a:r>
            </a:p>
            <a:p>
              <a:pPr algn="ctr"/>
              <a:r>
                <a:rPr lang="en-US" sz="700" dirty="0"/>
                <a:t>B 12.1</a:t>
              </a:r>
            </a:p>
            <a:p>
              <a:pPr algn="ctr"/>
              <a:r>
                <a:rPr lang="en-US" sz="700" dirty="0"/>
                <a:t>C 77.4</a:t>
              </a:r>
              <a:endParaRPr lang="en-CH" sz="700" dirty="0"/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F3934007-851B-4CC7-A6C6-196744ABD8B6}"/>
                </a:ext>
              </a:extLst>
            </p:cNvPr>
            <p:cNvSpPr txBox="1"/>
            <p:nvPr/>
          </p:nvSpPr>
          <p:spPr>
            <a:xfrm flipH="1">
              <a:off x="1800113" y="4025175"/>
              <a:ext cx="63294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/>
                <a:t>A 47.0</a:t>
              </a:r>
            </a:p>
            <a:p>
              <a:pPr algn="ctr"/>
              <a:r>
                <a:rPr lang="en-US" sz="700" dirty="0"/>
                <a:t>B 22.1</a:t>
              </a:r>
            </a:p>
            <a:p>
              <a:pPr algn="ctr"/>
              <a:r>
                <a:rPr lang="en-US" sz="700" dirty="0"/>
                <a:t>C 55.1</a:t>
              </a:r>
              <a:endParaRPr lang="en-CH" sz="700" dirty="0"/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73096298-A905-4FEA-84DC-E757E48F334A}"/>
                </a:ext>
              </a:extLst>
            </p:cNvPr>
            <p:cNvSpPr txBox="1"/>
            <p:nvPr/>
          </p:nvSpPr>
          <p:spPr>
            <a:xfrm flipH="1">
              <a:off x="2139686" y="4024307"/>
              <a:ext cx="63294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/>
                <a:t>A 45.5</a:t>
              </a:r>
            </a:p>
            <a:p>
              <a:pPr algn="ctr"/>
              <a:r>
                <a:rPr lang="en-US" sz="700" dirty="0"/>
                <a:t>B 15.5</a:t>
              </a:r>
            </a:p>
            <a:p>
              <a:pPr algn="ctr"/>
              <a:r>
                <a:rPr lang="en-US" sz="700" dirty="0"/>
                <a:t>D 11.4</a:t>
              </a:r>
              <a:endParaRPr lang="en-CH" sz="700" dirty="0"/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6C53F2A9-44A4-430F-BC56-7A9645CAFD0C}"/>
                </a:ext>
              </a:extLst>
            </p:cNvPr>
            <p:cNvSpPr txBox="1"/>
            <p:nvPr/>
          </p:nvSpPr>
          <p:spPr>
            <a:xfrm flipH="1">
              <a:off x="2456156" y="4030893"/>
              <a:ext cx="63294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/>
                <a:t>A 55.1</a:t>
              </a:r>
            </a:p>
            <a:p>
              <a:pPr algn="ctr"/>
              <a:r>
                <a:rPr lang="en-US" sz="700" dirty="0"/>
                <a:t>B 22.1</a:t>
              </a:r>
            </a:p>
            <a:p>
              <a:pPr algn="ctr"/>
              <a:r>
                <a:rPr lang="en-US" sz="700" dirty="0"/>
                <a:t>C 78.5</a:t>
              </a:r>
              <a:endParaRPr lang="en-CH" sz="700" dirty="0"/>
            </a:p>
          </p:txBody>
        </p:sp>
      </p:grpSp>
      <p:sp>
        <p:nvSpPr>
          <p:cNvPr id="90" name="TextBox 89">
            <a:extLst>
              <a:ext uri="{FF2B5EF4-FFF2-40B4-BE49-F238E27FC236}">
                <a16:creationId xmlns:a16="http://schemas.microsoft.com/office/drawing/2014/main" id="{349D43DC-C735-429A-9574-915E238DA026}"/>
              </a:ext>
            </a:extLst>
          </p:cNvPr>
          <p:cNvSpPr txBox="1"/>
          <p:nvPr/>
        </p:nvSpPr>
        <p:spPr>
          <a:xfrm flipH="1">
            <a:off x="4813677" y="4637872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4</a:t>
            </a:r>
          </a:p>
          <a:p>
            <a:pPr algn="ctr"/>
            <a:r>
              <a:rPr lang="en-US" sz="700" dirty="0"/>
              <a:t>B 42.1</a:t>
            </a:r>
          </a:p>
          <a:p>
            <a:pPr algn="ctr"/>
            <a:r>
              <a:rPr lang="en-US" sz="700" dirty="0"/>
              <a:t>D 15.4</a:t>
            </a:r>
            <a:endParaRPr lang="en-CH" sz="700" dirty="0"/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930932AC-0910-48E1-A811-75AF3B4F1653}"/>
              </a:ext>
            </a:extLst>
          </p:cNvPr>
          <p:cNvSpPr txBox="1"/>
          <p:nvPr/>
        </p:nvSpPr>
        <p:spPr>
          <a:xfrm flipH="1">
            <a:off x="5660210" y="4637872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1</a:t>
            </a:r>
          </a:p>
          <a:p>
            <a:pPr algn="ctr"/>
            <a:r>
              <a:rPr lang="en-US" sz="700" dirty="0"/>
              <a:t>B 12.5</a:t>
            </a:r>
          </a:p>
          <a:p>
            <a:pPr algn="ctr"/>
            <a:r>
              <a:rPr lang="en-US" sz="700" dirty="0"/>
              <a:t>C 77.8</a:t>
            </a:r>
            <a:endParaRPr lang="en-CH" sz="700" dirty="0"/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F83F6127-7D00-4925-AD38-99C083681529}"/>
              </a:ext>
            </a:extLst>
          </p:cNvPr>
          <p:cNvSpPr txBox="1"/>
          <p:nvPr/>
        </p:nvSpPr>
        <p:spPr>
          <a:xfrm flipH="1">
            <a:off x="6506743" y="4637872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35.0</a:t>
            </a:r>
          </a:p>
          <a:p>
            <a:pPr algn="ctr"/>
            <a:r>
              <a:rPr lang="en-US" sz="700" dirty="0"/>
              <a:t>B 15.1</a:t>
            </a:r>
          </a:p>
          <a:p>
            <a:pPr algn="ctr"/>
            <a:r>
              <a:rPr lang="en-US" sz="700" dirty="0"/>
              <a:t>C 75.5</a:t>
            </a:r>
            <a:endParaRPr lang="en-CH" sz="700" dirty="0"/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767DBD14-21E6-4201-8C16-2F37F1BD4FB1}"/>
              </a:ext>
            </a:extLst>
          </p:cNvPr>
          <p:cNvSpPr txBox="1"/>
          <p:nvPr/>
        </p:nvSpPr>
        <p:spPr>
          <a:xfrm flipH="1">
            <a:off x="7353278" y="4637872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3</a:t>
            </a:r>
          </a:p>
          <a:p>
            <a:pPr algn="ctr"/>
            <a:r>
              <a:rPr lang="en-US" sz="700" dirty="0"/>
              <a:t>B 18.9</a:t>
            </a:r>
          </a:p>
          <a:p>
            <a:pPr algn="ctr"/>
            <a:r>
              <a:rPr lang="en-US" sz="700" dirty="0"/>
              <a:t>C 67.4</a:t>
            </a:r>
            <a:endParaRPr lang="en-CH" sz="700" dirty="0"/>
          </a:p>
        </p:txBody>
      </p:sp>
      <p:sp>
        <p:nvSpPr>
          <p:cNvPr id="98" name="Right Brace 97">
            <a:extLst>
              <a:ext uri="{FF2B5EF4-FFF2-40B4-BE49-F238E27FC236}">
                <a16:creationId xmlns:a16="http://schemas.microsoft.com/office/drawing/2014/main" id="{B863C8F5-4D1A-48C0-AD38-87E98E5D1697}"/>
              </a:ext>
            </a:extLst>
          </p:cNvPr>
          <p:cNvSpPr/>
          <p:nvPr/>
        </p:nvSpPr>
        <p:spPr>
          <a:xfrm>
            <a:off x="10676433" y="3798582"/>
            <a:ext cx="295280" cy="130458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0AC7A2D6-EA5D-4350-BEDD-C1E2B30F3C02}"/>
              </a:ext>
            </a:extLst>
          </p:cNvPr>
          <p:cNvSpPr txBox="1"/>
          <p:nvPr/>
        </p:nvSpPr>
        <p:spPr>
          <a:xfrm flipH="1">
            <a:off x="10944635" y="4291049"/>
            <a:ext cx="12473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View:</a:t>
            </a:r>
          </a:p>
          <a:p>
            <a:r>
              <a:rPr lang="en-US" sz="800" dirty="0"/>
              <a:t>[Core].[</a:t>
            </a:r>
            <a:r>
              <a:rPr lang="en-US" sz="800" dirty="0" err="1"/>
              <a:t>AllMeasurement</a:t>
            </a:r>
            <a:r>
              <a:rPr lang="en-US" sz="800" dirty="0"/>
              <a:t>]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6C889AE0-4A02-4849-BD73-CF7579BAB17D}"/>
              </a:ext>
            </a:extLst>
          </p:cNvPr>
          <p:cNvSpPr txBox="1"/>
          <p:nvPr/>
        </p:nvSpPr>
        <p:spPr>
          <a:xfrm>
            <a:off x="1398545" y="5745799"/>
            <a:ext cx="638337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[Core].[</a:t>
            </a:r>
            <a:r>
              <a:rPr lang="en-CH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SwitchedOut_MeasurementStore_20211201_2021-12-14T18:53:05.363</a:t>
            </a:r>
            <a:r>
              <a:rPr lang="en-US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1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90314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1.11111E-6 L -0.00052 0.30023 " pathEditMode="relative" rAng="0" ptsTypes="AA">
                                      <p:cBhvr>
                                        <p:cTn id="18" dur="10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6" y="150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00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2" grpId="0" animBg="1"/>
      <p:bldP spid="9" grpId="0" animBg="1"/>
      <p:bldP spid="107" grpId="0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963849-9A10-4D9F-8F11-381E60BD4D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365125"/>
            <a:ext cx="11311429" cy="1325563"/>
          </a:xfrm>
        </p:spPr>
        <p:txBody>
          <a:bodyPr/>
          <a:lstStyle/>
          <a:p>
            <a:r>
              <a:rPr lang="en-US" dirty="0"/>
              <a:t>Remove Data from Measurement&lt;XXX&gt; table -2</a:t>
            </a:r>
            <a:endParaRPr lang="en-CH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1CD0D85-0BBE-45DC-A1DC-4878F48B9A6D}"/>
              </a:ext>
            </a:extLst>
          </p:cNvPr>
          <p:cNvSpPr txBox="1"/>
          <p:nvPr/>
        </p:nvSpPr>
        <p:spPr>
          <a:xfrm>
            <a:off x="962793" y="1717511"/>
            <a:ext cx="5257588" cy="127727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accent1">
                <a:shade val="5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UT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Partition]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moveDataPartitionsFromTabl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SchemaName         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Core'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Nam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Measurement'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_LowWaterMark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20211214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_HighWaterMark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20211214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erveSwitchOutTabl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</a:t>
            </a:r>
          </a:p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O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AD77DA14-B021-43CF-A201-4517967A48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32866" y="1717511"/>
            <a:ext cx="3375506" cy="988093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8BDF004-E9B1-4D2E-AF71-3E01BF594A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24933" y="1834920"/>
            <a:ext cx="2567006" cy="447678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2613688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/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Poor man’s digital twin </a:t>
            </a:r>
          </a:p>
          <a:p>
            <a:pPr lvl="1"/>
            <a:r>
              <a:rPr lang="en-US" dirty="0"/>
              <a:t>Restrict Data Access</a:t>
            </a:r>
          </a:p>
          <a:p>
            <a:pPr lvl="1"/>
            <a:r>
              <a:rPr lang="en-US" dirty="0"/>
              <a:t>Efficient Queries</a:t>
            </a:r>
          </a:p>
          <a:p>
            <a:pPr lvl="1"/>
            <a:r>
              <a:rPr lang="en-US" dirty="0"/>
              <a:t>Monitor activity/reset the database</a:t>
            </a:r>
          </a:p>
          <a:p>
            <a:r>
              <a:rPr lang="en-US" dirty="0"/>
              <a:t>Database Tiers</a:t>
            </a:r>
          </a:p>
          <a:p>
            <a:r>
              <a:rPr lang="en-US" dirty="0"/>
              <a:t>Conclusion and next Steps</a:t>
            </a:r>
          </a:p>
          <a:p>
            <a:pPr lvl="1"/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18013552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AA7825-C2AB-4E61-92D8-4AB7D3019E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Poor man’s digital </a:t>
            </a:r>
            <a:r>
              <a:rPr lang="de-CH" dirty="0" err="1"/>
              <a:t>twin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BFC2DF-A4DB-41A9-BC6D-213F89090CD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210640"/>
          </a:xfrm>
        </p:spPr>
        <p:txBody>
          <a:bodyPr>
            <a:normAutofit/>
          </a:bodyPr>
          <a:lstStyle/>
          <a:p>
            <a:r>
              <a:rPr lang="en-US" sz="2400" dirty="0"/>
              <a:t>The question “What is the last know value of a given Signal” can not use “Partition Elimination”</a:t>
            </a:r>
          </a:p>
          <a:p>
            <a:r>
              <a:rPr lang="en-US" sz="2400" dirty="0"/>
              <a:t>The Table </a:t>
            </a:r>
            <a:r>
              <a:rPr lang="de-CH" sz="2400" dirty="0"/>
              <a:t>[Core].[</a:t>
            </a:r>
            <a:r>
              <a:rPr lang="de-CH" sz="2400" dirty="0" err="1"/>
              <a:t>LatestMeasurement</a:t>
            </a:r>
            <a:r>
              <a:rPr lang="de-CH" sz="2400" dirty="0"/>
              <a:t>] </a:t>
            </a:r>
            <a:r>
              <a:rPr lang="en-US" sz="2400" dirty="0"/>
              <a:t>contains the latest know value</a:t>
            </a:r>
          </a:p>
          <a:p>
            <a:pPr lvl="1">
              <a:spcAft>
                <a:spcPts val="600"/>
              </a:spcAft>
            </a:pPr>
            <a:r>
              <a:rPr lang="en-US" sz="2000" dirty="0"/>
              <a:t>If </a:t>
            </a:r>
            <a:r>
              <a:rPr lang="de-CH" sz="2000" dirty="0"/>
              <a:t>[</a:t>
            </a:r>
            <a:r>
              <a:rPr lang="de-CH" sz="2000" dirty="0" err="1"/>
              <a:t>UpdateLatestMeasurement</a:t>
            </a:r>
            <a:r>
              <a:rPr lang="de-CH" sz="2000" dirty="0"/>
              <a:t>] </a:t>
            </a:r>
            <a:r>
              <a:rPr lang="de-CH" sz="2000" dirty="0" err="1"/>
              <a:t>is</a:t>
            </a:r>
            <a:r>
              <a:rPr lang="de-CH" sz="2000" dirty="0"/>
              <a:t> </a:t>
            </a:r>
            <a:r>
              <a:rPr lang="de-CH" sz="2000" dirty="0" err="1"/>
              <a:t>set</a:t>
            </a:r>
            <a:r>
              <a:rPr lang="de-CH" sz="2000" dirty="0"/>
              <a:t> </a:t>
            </a:r>
            <a:r>
              <a:rPr lang="de-CH" sz="2000" dirty="0" err="1"/>
              <a:t>to</a:t>
            </a:r>
            <a:r>
              <a:rPr lang="de-CH" sz="2000" dirty="0"/>
              <a:t> «</a:t>
            </a:r>
            <a:r>
              <a:rPr lang="de-CH" sz="2000" dirty="0" err="1"/>
              <a:t>true</a:t>
            </a:r>
            <a:r>
              <a:rPr lang="de-CH" sz="2000" dirty="0"/>
              <a:t>» in [Core].[Signal]</a:t>
            </a:r>
          </a:p>
          <a:p>
            <a:pPr lvl="2">
              <a:spcAft>
                <a:spcPts val="600"/>
              </a:spcAft>
            </a:pPr>
            <a:r>
              <a:rPr lang="de-CH" sz="1600" dirty="0"/>
              <a:t>Keeping </a:t>
            </a:r>
            <a:r>
              <a:rPr lang="de-CH" sz="1600" dirty="0" err="1"/>
              <a:t>the</a:t>
            </a:r>
            <a:r>
              <a:rPr lang="de-CH" sz="1600" dirty="0"/>
              <a:t> </a:t>
            </a:r>
            <a:r>
              <a:rPr lang="de-CH" sz="1600" dirty="0" err="1"/>
              <a:t>table</a:t>
            </a:r>
            <a:r>
              <a:rPr lang="de-CH" sz="1600" dirty="0"/>
              <a:t> </a:t>
            </a:r>
            <a:r>
              <a:rPr lang="de-CH" sz="1600" dirty="0" err="1"/>
              <a:t>up</a:t>
            </a:r>
            <a:r>
              <a:rPr lang="de-CH" sz="1600" dirty="0"/>
              <a:t> </a:t>
            </a:r>
            <a:r>
              <a:rPr lang="de-CH" sz="1600" dirty="0" err="1"/>
              <a:t>to</a:t>
            </a:r>
            <a:r>
              <a:rPr lang="de-CH" sz="1600" dirty="0"/>
              <a:t> date </a:t>
            </a:r>
            <a:r>
              <a:rPr lang="de-CH" sz="1600" dirty="0" err="1"/>
              <a:t>adds</a:t>
            </a:r>
            <a:br>
              <a:rPr lang="de-CH" sz="1600" dirty="0"/>
            </a:br>
            <a:r>
              <a:rPr lang="de-CH" sz="1600" dirty="0" err="1"/>
              <a:t>some</a:t>
            </a:r>
            <a:r>
              <a:rPr lang="de-CH" sz="1600" dirty="0"/>
              <a:t> </a:t>
            </a:r>
            <a:r>
              <a:rPr lang="de-CH" sz="1600" dirty="0" err="1"/>
              <a:t>overhead</a:t>
            </a:r>
            <a:r>
              <a:rPr lang="de-CH" sz="1600" dirty="0"/>
              <a:t> </a:t>
            </a:r>
            <a:r>
              <a:rPr lang="de-CH" sz="1600" dirty="0" err="1"/>
              <a:t>to</a:t>
            </a:r>
            <a:r>
              <a:rPr lang="de-CH" sz="1600" dirty="0"/>
              <a:t> </a:t>
            </a:r>
            <a:r>
              <a:rPr lang="de-CH" sz="1600" dirty="0" err="1"/>
              <a:t>the</a:t>
            </a:r>
            <a:r>
              <a:rPr lang="de-CH" sz="1600" dirty="0"/>
              <a:t> </a:t>
            </a:r>
            <a:r>
              <a:rPr lang="de-CH" sz="1600" dirty="0" err="1"/>
              <a:t>system</a:t>
            </a:r>
            <a:r>
              <a:rPr lang="de-CH" sz="1600" dirty="0"/>
              <a:t> </a:t>
            </a:r>
            <a:br>
              <a:rPr lang="de-CH" sz="1600" dirty="0"/>
            </a:br>
            <a:r>
              <a:rPr lang="de-CH" sz="1600" dirty="0"/>
              <a:t>-&gt; update </a:t>
            </a:r>
            <a:r>
              <a:rPr lang="de-CH" sz="1600" dirty="0" err="1"/>
              <a:t>can</a:t>
            </a:r>
            <a:r>
              <a:rPr lang="de-CH" sz="1600" dirty="0"/>
              <a:t> </a:t>
            </a:r>
            <a:r>
              <a:rPr lang="de-CH" sz="1600" dirty="0" err="1"/>
              <a:t>be</a:t>
            </a:r>
            <a:r>
              <a:rPr lang="de-CH" sz="1600" dirty="0"/>
              <a:t> </a:t>
            </a:r>
            <a:r>
              <a:rPr lang="de-CH" sz="1600" dirty="0" err="1"/>
              <a:t>enabled</a:t>
            </a:r>
            <a:r>
              <a:rPr lang="de-CH" sz="1600" dirty="0"/>
              <a:t> </a:t>
            </a:r>
            <a:r>
              <a:rPr lang="de-CH" sz="1600" dirty="0" err="1"/>
              <a:t>if</a:t>
            </a:r>
            <a:r>
              <a:rPr lang="de-CH" sz="1600" dirty="0"/>
              <a:t> </a:t>
            </a:r>
            <a:r>
              <a:rPr lang="de-CH" sz="1600" dirty="0" err="1"/>
              <a:t>required</a:t>
            </a:r>
            <a:br>
              <a:rPr lang="de-CH" sz="1600" dirty="0"/>
            </a:br>
            <a:endParaRPr lang="de-CH" sz="1600" dirty="0"/>
          </a:p>
          <a:p>
            <a:pPr lvl="1">
              <a:spcAft>
                <a:spcPts val="600"/>
              </a:spcAft>
            </a:pPr>
            <a:r>
              <a:rPr lang="en-US" sz="2000" dirty="0"/>
              <a:t>Also, helpful to see end-to-end </a:t>
            </a:r>
            <a:br>
              <a:rPr lang="en-US" sz="2000" dirty="0"/>
            </a:br>
            <a:r>
              <a:rPr lang="en-US" sz="2000" dirty="0"/>
              <a:t>latency of the whole chain </a:t>
            </a:r>
            <a:endParaRPr lang="en-CH" sz="2000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1342B86D-EE72-45A1-85CD-88D1850C75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12460" y="3325905"/>
            <a:ext cx="5519999" cy="3062771"/>
          </a:xfrm>
          <a:prstGeom prst="rect">
            <a:avLst/>
          </a:prstGeom>
        </p:spPr>
      </p:pic>
      <p:sp>
        <p:nvSpPr>
          <p:cNvPr id="28" name="Oval 27">
            <a:extLst>
              <a:ext uri="{FF2B5EF4-FFF2-40B4-BE49-F238E27FC236}">
                <a16:creationId xmlns:a16="http://schemas.microsoft.com/office/drawing/2014/main" id="{0E751FD0-9D4E-47DD-A131-F39766B76A42}"/>
              </a:ext>
            </a:extLst>
          </p:cNvPr>
          <p:cNvSpPr/>
          <p:nvPr/>
        </p:nvSpPr>
        <p:spPr>
          <a:xfrm>
            <a:off x="9090215" y="4482352"/>
            <a:ext cx="838200" cy="233083"/>
          </a:xfrm>
          <a:prstGeom prst="ellipse">
            <a:avLst/>
          </a:prstGeom>
          <a:noFill/>
          <a:ln w="4127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997E5F4-18F8-4EDB-9D74-89CDC330E9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6152" y="5507624"/>
            <a:ext cx="6415134" cy="528641"/>
          </a:xfrm>
          <a:prstGeom prst="rect">
            <a:avLst/>
          </a:prstGeom>
          <a:ln w="6350">
            <a:solidFill>
              <a:schemeClr val="tx1">
                <a:lumMod val="65000"/>
                <a:lumOff val="3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98013619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/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/>
              <a:t>Poor man’s digital twin 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Restrict Data Access</a:t>
            </a:r>
          </a:p>
          <a:p>
            <a:pPr lvl="1"/>
            <a:r>
              <a:rPr lang="en-US" dirty="0"/>
              <a:t>Efficient Queries</a:t>
            </a:r>
          </a:p>
          <a:p>
            <a:pPr lvl="1"/>
            <a:r>
              <a:rPr lang="en-US" dirty="0"/>
              <a:t>Monitor activity/reset the database</a:t>
            </a:r>
            <a:endParaRPr lang="en-US" dirty="0">
              <a:highlight>
                <a:srgbClr val="FFFF00"/>
              </a:highlight>
            </a:endParaRPr>
          </a:p>
          <a:p>
            <a:r>
              <a:rPr lang="en-US" dirty="0"/>
              <a:t>Database Tiers</a:t>
            </a:r>
          </a:p>
          <a:p>
            <a:r>
              <a:rPr lang="en-US" dirty="0"/>
              <a:t>Conclusion and next Steps</a:t>
            </a:r>
          </a:p>
          <a:p>
            <a:pPr lvl="1"/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79672676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A7B67-73A5-4950-ADC1-081A053A07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ingest and presentation</a:t>
            </a:r>
          </a:p>
        </p:txBody>
      </p:sp>
      <p:pic>
        <p:nvPicPr>
          <p:cNvPr id="5" name="Picture 2" descr="Microsoft BI Tools: Azure Stream Analytics">
            <a:extLst>
              <a:ext uri="{FF2B5EF4-FFF2-40B4-BE49-F238E27FC236}">
                <a16:creationId xmlns:a16="http://schemas.microsoft.com/office/drawing/2014/main" id="{DCF5535F-263B-4DC5-A86C-1F4F6BB8C7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5650" y="3476690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AA705E7-3F55-47D0-A7D9-25BC1CA83B55}"/>
              </a:ext>
            </a:extLst>
          </p:cNvPr>
          <p:cNvSpPr txBox="1"/>
          <p:nvPr/>
        </p:nvSpPr>
        <p:spPr>
          <a:xfrm>
            <a:off x="2359336" y="3999184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pic>
        <p:nvPicPr>
          <p:cNvPr id="9" name="Picture 2" descr="Azure SQL Database with Elastic pools – Lee's Tech Blog">
            <a:extLst>
              <a:ext uri="{FF2B5EF4-FFF2-40B4-BE49-F238E27FC236}">
                <a16:creationId xmlns:a16="http://schemas.microsoft.com/office/drawing/2014/main" id="{4E33686F-517E-41BB-ABFF-963F9F8A6C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4119" y="3476690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FC8E05FA-2F89-4411-94BF-CF75E03A178C}"/>
              </a:ext>
            </a:extLst>
          </p:cNvPr>
          <p:cNvCxnSpPr>
            <a:cxnSpLocks/>
          </p:cNvCxnSpPr>
          <p:nvPr/>
        </p:nvCxnSpPr>
        <p:spPr>
          <a:xfrm>
            <a:off x="3149860" y="3709805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D9D2B24-A1EB-424D-BFF4-87B68C9CB903}"/>
              </a:ext>
            </a:extLst>
          </p:cNvPr>
          <p:cNvSpPr txBox="1"/>
          <p:nvPr/>
        </p:nvSpPr>
        <p:spPr>
          <a:xfrm>
            <a:off x="3794905" y="3999184"/>
            <a:ext cx="9604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Azure SQL </a:t>
            </a:r>
            <a:br>
              <a:rPr lang="en-US" sz="1400" dirty="0"/>
            </a:br>
            <a:r>
              <a:rPr lang="en-US" sz="1400" dirty="0"/>
              <a:t>Database</a:t>
            </a:r>
          </a:p>
        </p:txBody>
      </p:sp>
      <p:pic>
        <p:nvPicPr>
          <p:cNvPr id="15" name="Picture 2" descr="Azure SQL Database with Elastic pools – Lee's Tech Blog">
            <a:extLst>
              <a:ext uri="{FF2B5EF4-FFF2-40B4-BE49-F238E27FC236}">
                <a16:creationId xmlns:a16="http://schemas.microsoft.com/office/drawing/2014/main" id="{2049D06D-055F-4AF1-99E2-1714803A32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8550" y="4890616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0E03AA6-553B-49E2-BDA3-1921D28C172A}"/>
              </a:ext>
            </a:extLst>
          </p:cNvPr>
          <p:cNvSpPr txBox="1"/>
          <p:nvPr/>
        </p:nvSpPr>
        <p:spPr>
          <a:xfrm>
            <a:off x="2381139" y="5413110"/>
            <a:ext cx="9168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Reference</a:t>
            </a:r>
          </a:p>
          <a:p>
            <a:pPr algn="ctr"/>
            <a:r>
              <a:rPr lang="en-US" sz="1400" dirty="0"/>
              <a:t>Data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B8DD805-9601-4476-A2CE-2F18D362F103}"/>
              </a:ext>
            </a:extLst>
          </p:cNvPr>
          <p:cNvCxnSpPr>
            <a:cxnSpLocks/>
            <a:endCxn id="7" idx="2"/>
          </p:cNvCxnSpPr>
          <p:nvPr/>
        </p:nvCxnSpPr>
        <p:spPr>
          <a:xfrm flipV="1">
            <a:off x="2780734" y="4522404"/>
            <a:ext cx="0" cy="2997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" descr="Preise – IoT Hub | Microsoft Azure">
            <a:extLst>
              <a:ext uri="{FF2B5EF4-FFF2-40B4-BE49-F238E27FC236}">
                <a16:creationId xmlns:a16="http://schemas.microsoft.com/office/drawing/2014/main" id="{5027943F-1551-4976-9060-0C51D6B735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097" y="3439073"/>
            <a:ext cx="1009444" cy="529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22A93C8D-3B61-40C4-BCB6-7EB9AE3340FD}"/>
              </a:ext>
            </a:extLst>
          </p:cNvPr>
          <p:cNvSpPr txBox="1"/>
          <p:nvPr/>
        </p:nvSpPr>
        <p:spPr>
          <a:xfrm>
            <a:off x="906803" y="3999184"/>
            <a:ext cx="4860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IoT</a:t>
            </a:r>
            <a:br>
              <a:rPr lang="en-US" sz="1400" dirty="0"/>
            </a:br>
            <a:r>
              <a:rPr lang="en-US" sz="1400" dirty="0"/>
              <a:t>Hub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FB9C04D-109E-405C-B94C-451005A56A21}"/>
              </a:ext>
            </a:extLst>
          </p:cNvPr>
          <p:cNvCxnSpPr>
            <a:cxnSpLocks/>
          </p:cNvCxnSpPr>
          <p:nvPr/>
        </p:nvCxnSpPr>
        <p:spPr>
          <a:xfrm>
            <a:off x="1570295" y="3704052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allout: Bent Line 25">
            <a:extLst>
              <a:ext uri="{FF2B5EF4-FFF2-40B4-BE49-F238E27FC236}">
                <a16:creationId xmlns:a16="http://schemas.microsoft.com/office/drawing/2014/main" id="{17BEE9DA-70EA-42C7-955B-A8465710F222}"/>
              </a:ext>
            </a:extLst>
          </p:cNvPr>
          <p:cNvSpPr/>
          <p:nvPr/>
        </p:nvSpPr>
        <p:spPr>
          <a:xfrm>
            <a:off x="5750498" y="1718875"/>
            <a:ext cx="2198226" cy="89491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210882"/>
              <a:gd name="adj6" fmla="val -8487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 duplicate delivery of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28" name="Callout: Bent Line 27">
            <a:extLst>
              <a:ext uri="{FF2B5EF4-FFF2-40B4-BE49-F238E27FC236}">
                <a16:creationId xmlns:a16="http://schemas.microsoft.com/office/drawing/2014/main" id="{F6649FFB-5E51-4A94-B29A-A18CABED7DFD}"/>
              </a:ext>
            </a:extLst>
          </p:cNvPr>
          <p:cNvSpPr/>
          <p:nvPr/>
        </p:nvSpPr>
        <p:spPr>
          <a:xfrm>
            <a:off x="7804504" y="2793402"/>
            <a:ext cx="2391070" cy="1272266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57778"/>
              <a:gd name="adj6" fmla="val -13099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how data only allowed rows, company internal but also for third party users</a:t>
            </a:r>
            <a:endParaRPr lang="en-US" sz="1100" dirty="0"/>
          </a:p>
        </p:txBody>
      </p:sp>
      <p:sp>
        <p:nvSpPr>
          <p:cNvPr id="30" name="Callout: Bent Line 29">
            <a:extLst>
              <a:ext uri="{FF2B5EF4-FFF2-40B4-BE49-F238E27FC236}">
                <a16:creationId xmlns:a16="http://schemas.microsoft.com/office/drawing/2014/main" id="{84D4E801-3D55-4414-ACA4-6FE4F6E95945}"/>
              </a:ext>
            </a:extLst>
          </p:cNvPr>
          <p:cNvSpPr/>
          <p:nvPr/>
        </p:nvSpPr>
        <p:spPr>
          <a:xfrm>
            <a:off x="3853734" y="4861433"/>
            <a:ext cx="2285810" cy="976875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8313"/>
              <a:gd name="adj6" fmla="val -3716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place signal name with internal  </a:t>
            </a:r>
            <a:br>
              <a:rPr lang="en-US" dirty="0"/>
            </a:br>
            <a:r>
              <a:rPr lang="en-US" dirty="0" err="1"/>
              <a:t>SignalId</a:t>
            </a:r>
            <a:endParaRPr lang="en-US" sz="1100" dirty="0"/>
          </a:p>
        </p:txBody>
      </p:sp>
      <p:sp>
        <p:nvSpPr>
          <p:cNvPr id="32" name="Callout: Bent Line 31">
            <a:extLst>
              <a:ext uri="{FF2B5EF4-FFF2-40B4-BE49-F238E27FC236}">
                <a16:creationId xmlns:a16="http://schemas.microsoft.com/office/drawing/2014/main" id="{C66A6811-F26C-4E25-B93B-50E93B0D271A}"/>
              </a:ext>
            </a:extLst>
          </p:cNvPr>
          <p:cNvSpPr/>
          <p:nvPr/>
        </p:nvSpPr>
        <p:spPr>
          <a:xfrm>
            <a:off x="7804504" y="4260795"/>
            <a:ext cx="2391070" cy="1057944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32823"/>
              <a:gd name="adj6" fmla="val -13027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eep history of all security relevant meta data changes</a:t>
            </a:r>
            <a:endParaRPr lang="en-US" sz="1100" dirty="0"/>
          </a:p>
        </p:txBody>
      </p:sp>
      <p:sp>
        <p:nvSpPr>
          <p:cNvPr id="3" name="Callout: Bent Line 2">
            <a:extLst>
              <a:ext uri="{FF2B5EF4-FFF2-40B4-BE49-F238E27FC236}">
                <a16:creationId xmlns:a16="http://schemas.microsoft.com/office/drawing/2014/main" id="{C53C303B-6D19-466F-B639-9751B8CF69CE}"/>
              </a:ext>
            </a:extLst>
          </p:cNvPr>
          <p:cNvSpPr/>
          <p:nvPr/>
        </p:nvSpPr>
        <p:spPr>
          <a:xfrm>
            <a:off x="2614109" y="2254671"/>
            <a:ext cx="2198226" cy="79184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78668"/>
              <a:gd name="adj6" fmla="val -3800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al with </a:t>
            </a:r>
            <a:br>
              <a:rPr lang="en-US" dirty="0"/>
            </a:br>
            <a:r>
              <a:rPr lang="en-US" dirty="0"/>
              <a:t>mal formed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9FAAEA5B-7769-49F8-BCF7-B22E4020B9FC}"/>
              </a:ext>
            </a:extLst>
          </p:cNvPr>
          <p:cNvSpPr/>
          <p:nvPr/>
        </p:nvSpPr>
        <p:spPr>
          <a:xfrm>
            <a:off x="7578906" y="2452317"/>
            <a:ext cx="2795225" cy="3184808"/>
          </a:xfrm>
          <a:prstGeom prst="ellipse">
            <a:avLst/>
          </a:prstGeom>
          <a:noFill/>
          <a:ln w="3492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06318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F9EDC3-BCDB-4006-98DC-93BAA1A74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6938" y="175677"/>
            <a:ext cx="10515600" cy="1325563"/>
          </a:xfrm>
        </p:spPr>
        <p:txBody>
          <a:bodyPr/>
          <a:lstStyle/>
          <a:p>
            <a:r>
              <a:rPr lang="en-US" dirty="0"/>
              <a:t>Source of the Architecture (Axpo Hydro)</a:t>
            </a:r>
          </a:p>
        </p:txBody>
      </p:sp>
      <p:pic>
        <p:nvPicPr>
          <p:cNvPr id="1026" name="Picture 2" descr="Kraftwerke Sarganserland">
            <a:extLst>
              <a:ext uri="{FF2B5EF4-FFF2-40B4-BE49-F238E27FC236}">
                <a16:creationId xmlns:a16="http://schemas.microsoft.com/office/drawing/2014/main" id="{407130F5-0EDB-4184-91D7-F2B5FAF31E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386819"/>
            <a:ext cx="2931216" cy="22849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>
            <a:extLst>
              <a:ext uri="{FF2B5EF4-FFF2-40B4-BE49-F238E27FC236}">
                <a16:creationId xmlns:a16="http://schemas.microsoft.com/office/drawing/2014/main" id="{6673D16F-126D-434F-9699-4F75C14192E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68" t="29648" r="10261" b="9648"/>
          <a:stretch/>
        </p:blipFill>
        <p:spPr bwMode="auto">
          <a:xfrm>
            <a:off x="838200" y="3749625"/>
            <a:ext cx="5628387" cy="2866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Azure IoT Edge | CloudBank">
            <a:extLst>
              <a:ext uri="{FF2B5EF4-FFF2-40B4-BE49-F238E27FC236}">
                <a16:creationId xmlns:a16="http://schemas.microsoft.com/office/drawing/2014/main" id="{2644605E-7A32-4B7D-8C8F-96151EBF77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8839" y="1392253"/>
            <a:ext cx="614214" cy="614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 descr="Preise – IoT Hub | Microsoft Azure">
            <a:extLst>
              <a:ext uri="{FF2B5EF4-FFF2-40B4-BE49-F238E27FC236}">
                <a16:creationId xmlns:a16="http://schemas.microsoft.com/office/drawing/2014/main" id="{E7163D0C-BAA6-4169-9CDC-EB590AB352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4738" y="1434381"/>
            <a:ext cx="1009444" cy="529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 descr="Microsoft BI Tools: Azure Stream Analytics">
            <a:extLst>
              <a:ext uri="{FF2B5EF4-FFF2-40B4-BE49-F238E27FC236}">
                <a16:creationId xmlns:a16="http://schemas.microsoft.com/office/drawing/2014/main" id="{13E07459-3DAF-4823-9CE9-97701305B7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5299" y="1471998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F59C171-C8AC-447C-9B50-D9DDD7B250BE}"/>
              </a:ext>
            </a:extLst>
          </p:cNvPr>
          <p:cNvSpPr txBox="1"/>
          <p:nvPr/>
        </p:nvSpPr>
        <p:spPr>
          <a:xfrm>
            <a:off x="4578724" y="1994492"/>
            <a:ext cx="53803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IoT</a:t>
            </a:r>
            <a:br>
              <a:rPr lang="en-US" sz="1400" dirty="0"/>
            </a:br>
            <a:r>
              <a:rPr lang="en-US" sz="1400" dirty="0"/>
              <a:t>Edge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23E0A42D-9C97-48FC-A586-9D1E34956D94}"/>
              </a:ext>
            </a:extLst>
          </p:cNvPr>
          <p:cNvCxnSpPr>
            <a:endCxn id="5122" idx="1"/>
          </p:cNvCxnSpPr>
          <p:nvPr/>
        </p:nvCxnSpPr>
        <p:spPr>
          <a:xfrm>
            <a:off x="5300865" y="1699360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80E73362-B0A8-432A-8977-8ED924C41CC0}"/>
              </a:ext>
            </a:extLst>
          </p:cNvPr>
          <p:cNvSpPr txBox="1"/>
          <p:nvPr/>
        </p:nvSpPr>
        <p:spPr>
          <a:xfrm>
            <a:off x="6266444" y="1994492"/>
            <a:ext cx="4860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IoT</a:t>
            </a:r>
            <a:br>
              <a:rPr lang="en-US" sz="1400" dirty="0"/>
            </a:br>
            <a:r>
              <a:rPr lang="en-US" sz="1400" dirty="0"/>
              <a:t>Hub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CFA2854-22F9-4416-8798-E590CD3D118C}"/>
              </a:ext>
            </a:extLst>
          </p:cNvPr>
          <p:cNvSpPr txBox="1"/>
          <p:nvPr/>
        </p:nvSpPr>
        <p:spPr>
          <a:xfrm>
            <a:off x="7648985" y="1994492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70F49CD8-8F75-4896-ADAF-1E64113D7C6D}"/>
              </a:ext>
            </a:extLst>
          </p:cNvPr>
          <p:cNvCxnSpPr>
            <a:cxnSpLocks/>
          </p:cNvCxnSpPr>
          <p:nvPr/>
        </p:nvCxnSpPr>
        <p:spPr>
          <a:xfrm>
            <a:off x="6929936" y="1699360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170" name="Picture 2" descr="Azure SQL Database with Elastic pools – Lee's Tech Blog">
            <a:extLst>
              <a:ext uri="{FF2B5EF4-FFF2-40B4-BE49-F238E27FC236}">
                <a16:creationId xmlns:a16="http://schemas.microsoft.com/office/drawing/2014/main" id="{506EEF4A-7B35-4EEE-9FA0-D3613886C6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3768" y="1471998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E8D3BA3A-DCA0-4A78-8B82-2BC7C0F9F77B}"/>
              </a:ext>
            </a:extLst>
          </p:cNvPr>
          <p:cNvCxnSpPr>
            <a:cxnSpLocks/>
          </p:cNvCxnSpPr>
          <p:nvPr/>
        </p:nvCxnSpPr>
        <p:spPr>
          <a:xfrm>
            <a:off x="8439509" y="1705113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B2E2224A-F5D5-428B-B75A-8F617236227B}"/>
              </a:ext>
            </a:extLst>
          </p:cNvPr>
          <p:cNvSpPr txBox="1"/>
          <p:nvPr/>
        </p:nvSpPr>
        <p:spPr>
          <a:xfrm>
            <a:off x="9084554" y="1994492"/>
            <a:ext cx="9604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Azure SQL </a:t>
            </a:r>
            <a:br>
              <a:rPr lang="en-US" sz="1400" dirty="0"/>
            </a:br>
            <a:r>
              <a:rPr lang="en-US" sz="1400" dirty="0"/>
              <a:t>Database</a:t>
            </a:r>
          </a:p>
        </p:txBody>
      </p:sp>
      <p:pic>
        <p:nvPicPr>
          <p:cNvPr id="8194" name="Picture 2" descr="Azure Machine Learning Services: a complete toolbox for AI? | element61">
            <a:extLst>
              <a:ext uri="{FF2B5EF4-FFF2-40B4-BE49-F238E27FC236}">
                <a16:creationId xmlns:a16="http://schemas.microsoft.com/office/drawing/2014/main" id="{5767B2D4-6384-4310-B61E-FC498A96BE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2434" y="4822344"/>
            <a:ext cx="916853" cy="509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18" name="Picture 2" descr="Adding an Azure web app to an Application Service Environment running in  another subscription — Xebia Blog">
            <a:extLst>
              <a:ext uri="{FF2B5EF4-FFF2-40B4-BE49-F238E27FC236}">
                <a16:creationId xmlns:a16="http://schemas.microsoft.com/office/drawing/2014/main" id="{98EBFE8C-1BE8-40F3-9806-6CDA08D320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80967" y="1514765"/>
            <a:ext cx="555868" cy="555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8C55047-6217-475F-AE43-6D1679F932B2}"/>
              </a:ext>
            </a:extLst>
          </p:cNvPr>
          <p:cNvSpPr txBox="1"/>
          <p:nvPr/>
        </p:nvSpPr>
        <p:spPr>
          <a:xfrm>
            <a:off x="8156590" y="5407466"/>
            <a:ext cx="821059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Azure </a:t>
            </a:r>
          </a:p>
          <a:p>
            <a:pPr algn="ctr"/>
            <a:r>
              <a:rPr lang="en-US" sz="1400" dirty="0"/>
              <a:t>Machine</a:t>
            </a:r>
          </a:p>
          <a:p>
            <a:pPr algn="ctr"/>
            <a:r>
              <a:rPr lang="en-US" sz="1400" dirty="0"/>
              <a:t>Learning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9C8B8C3-CD27-4E02-BDC6-544DD6928C56}"/>
              </a:ext>
            </a:extLst>
          </p:cNvPr>
          <p:cNvSpPr txBox="1"/>
          <p:nvPr/>
        </p:nvSpPr>
        <p:spPr>
          <a:xfrm>
            <a:off x="10627459" y="2144350"/>
            <a:ext cx="101188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Web </a:t>
            </a:r>
          </a:p>
          <a:p>
            <a:pPr algn="ctr"/>
            <a:r>
              <a:rPr lang="en-US" sz="1400" dirty="0"/>
              <a:t>Application</a:t>
            </a:r>
          </a:p>
        </p:txBody>
      </p:sp>
      <p:pic>
        <p:nvPicPr>
          <p:cNvPr id="12" name="Picture 2" descr="Azure SQL Database with Elastic pools – Lee's Tech Blog">
            <a:extLst>
              <a:ext uri="{FF2B5EF4-FFF2-40B4-BE49-F238E27FC236}">
                <a16:creationId xmlns:a16="http://schemas.microsoft.com/office/drawing/2014/main" id="{A58F2575-6EBC-44D8-A93D-9EB9C2D736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8199" y="2885924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6F4AAB95-338E-4DB9-A9BB-11A55370334F}"/>
              </a:ext>
            </a:extLst>
          </p:cNvPr>
          <p:cNvSpPr txBox="1"/>
          <p:nvPr/>
        </p:nvSpPr>
        <p:spPr>
          <a:xfrm>
            <a:off x="7670788" y="3408418"/>
            <a:ext cx="9168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Reference</a:t>
            </a:r>
          </a:p>
          <a:p>
            <a:pPr algn="ctr"/>
            <a:r>
              <a:rPr lang="en-US" sz="1400" dirty="0"/>
              <a:t>Data</a:t>
            </a:r>
          </a:p>
        </p:txBody>
      </p:sp>
      <p:pic>
        <p:nvPicPr>
          <p:cNvPr id="10242" name="Picture 2" descr="ABB - Sauber Group">
            <a:extLst>
              <a:ext uri="{FF2B5EF4-FFF2-40B4-BE49-F238E27FC236}">
                <a16:creationId xmlns:a16="http://schemas.microsoft.com/office/drawing/2014/main" id="{BCBC4E4E-9C19-4320-96FB-6E33A01860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476" y="4822344"/>
            <a:ext cx="993381" cy="549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63ECB148-D0D5-41DA-97A7-82F35CE0BAF3}"/>
              </a:ext>
            </a:extLst>
          </p:cNvPr>
          <p:cNvSpPr txBox="1"/>
          <p:nvPr/>
        </p:nvSpPr>
        <p:spPr>
          <a:xfrm>
            <a:off x="10928481" y="5407466"/>
            <a:ext cx="56374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Third</a:t>
            </a:r>
          </a:p>
          <a:p>
            <a:pPr algn="ctr"/>
            <a:r>
              <a:rPr lang="en-US" sz="1400" dirty="0"/>
              <a:t>Party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94F80DE4-55BF-4ECE-8280-BE91FDDFA360}"/>
              </a:ext>
            </a:extLst>
          </p:cNvPr>
          <p:cNvCxnSpPr>
            <a:cxnSpLocks/>
            <a:endCxn id="7" idx="2"/>
          </p:cNvCxnSpPr>
          <p:nvPr/>
        </p:nvCxnSpPr>
        <p:spPr>
          <a:xfrm flipV="1">
            <a:off x="8070383" y="2517712"/>
            <a:ext cx="0" cy="2997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17F6CDC1-82CE-4623-A25C-10F2603C9EE9}"/>
              </a:ext>
            </a:extLst>
          </p:cNvPr>
          <p:cNvCxnSpPr>
            <a:cxnSpLocks/>
            <a:stCxn id="9" idx="2"/>
          </p:cNvCxnSpPr>
          <p:nvPr/>
        </p:nvCxnSpPr>
        <p:spPr>
          <a:xfrm flipH="1">
            <a:off x="8644856" y="2517712"/>
            <a:ext cx="919926" cy="223620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F0AEE013-3727-4033-98E6-139C88DDC42E}"/>
              </a:ext>
            </a:extLst>
          </p:cNvPr>
          <p:cNvCxnSpPr>
            <a:cxnSpLocks/>
          </p:cNvCxnSpPr>
          <p:nvPr/>
        </p:nvCxnSpPr>
        <p:spPr>
          <a:xfrm>
            <a:off x="9682742" y="2538140"/>
            <a:ext cx="1306985" cy="230667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96792D3E-A8D6-4E9D-9C53-1CBAD84000A7}"/>
              </a:ext>
            </a:extLst>
          </p:cNvPr>
          <p:cNvCxnSpPr>
            <a:cxnSpLocks/>
          </p:cNvCxnSpPr>
          <p:nvPr/>
        </p:nvCxnSpPr>
        <p:spPr>
          <a:xfrm>
            <a:off x="9875100" y="1699360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croll: Vertical 16">
            <a:extLst>
              <a:ext uri="{FF2B5EF4-FFF2-40B4-BE49-F238E27FC236}">
                <a16:creationId xmlns:a16="http://schemas.microsoft.com/office/drawing/2014/main" id="{C8E66B05-7044-4C0E-9196-8C92E22D59C8}"/>
              </a:ext>
            </a:extLst>
          </p:cNvPr>
          <p:cNvSpPr/>
          <p:nvPr/>
        </p:nvSpPr>
        <p:spPr>
          <a:xfrm>
            <a:off x="9720020" y="5966488"/>
            <a:ext cx="3610999" cy="1371332"/>
          </a:xfrm>
          <a:prstGeom prst="verticalScrol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+ 3 Projects @ Axpo Grid</a:t>
            </a:r>
          </a:p>
          <a:p>
            <a:pPr algn="ctr"/>
            <a:r>
              <a:rPr lang="en-US" dirty="0"/>
              <a:t> + 1 Project @ </a:t>
            </a:r>
            <a:r>
              <a:rPr lang="en-US" dirty="0" err="1"/>
              <a:t>Emost</a:t>
            </a:r>
            <a:r>
              <a:rPr lang="en-US" dirty="0"/>
              <a:t> (Axpo)</a:t>
            </a:r>
          </a:p>
          <a:p>
            <a:pPr algn="ctr"/>
            <a:r>
              <a:rPr lang="en-US" dirty="0"/>
              <a:t>+ 1 Project @ </a:t>
            </a:r>
            <a:r>
              <a:rPr lang="en-US" dirty="0" err="1"/>
              <a:t>Migros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8247294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D02940-B6DD-487B-8583-8B76159ED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SQL Database</a:t>
            </a:r>
          </a:p>
        </p:txBody>
      </p:sp>
      <p:sp>
        <p:nvSpPr>
          <p:cNvPr id="4" name="Flowchart: Magnetic Disk 3">
            <a:extLst>
              <a:ext uri="{FF2B5EF4-FFF2-40B4-BE49-F238E27FC236}">
                <a16:creationId xmlns:a16="http://schemas.microsoft.com/office/drawing/2014/main" id="{4FA36A61-2F59-4FE6-865E-3C04B4F1F559}"/>
              </a:ext>
            </a:extLst>
          </p:cNvPr>
          <p:cNvSpPr/>
          <p:nvPr/>
        </p:nvSpPr>
        <p:spPr>
          <a:xfrm>
            <a:off x="1271115" y="1655519"/>
            <a:ext cx="10379110" cy="3856002"/>
          </a:xfrm>
          <a:prstGeom prst="flowChartMagneticDisk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71EB808-A8DE-4F25-901A-69EF93895A4C}"/>
              </a:ext>
            </a:extLst>
          </p:cNvPr>
          <p:cNvCxnSpPr>
            <a:cxnSpLocks/>
          </p:cNvCxnSpPr>
          <p:nvPr/>
        </p:nvCxnSpPr>
        <p:spPr>
          <a:xfrm>
            <a:off x="4597119" y="1715256"/>
            <a:ext cx="0" cy="37530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EA6C428-F9E0-4C5F-98AD-1D3FCA2D65D1}"/>
              </a:ext>
            </a:extLst>
          </p:cNvPr>
          <p:cNvCxnSpPr>
            <a:cxnSpLocks/>
          </p:cNvCxnSpPr>
          <p:nvPr/>
        </p:nvCxnSpPr>
        <p:spPr>
          <a:xfrm>
            <a:off x="8281514" y="1715256"/>
            <a:ext cx="0" cy="37530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C8DC9DA-BD43-421D-88F8-45836804F1E5}"/>
              </a:ext>
            </a:extLst>
          </p:cNvPr>
          <p:cNvSpPr txBox="1"/>
          <p:nvPr/>
        </p:nvSpPr>
        <p:spPr>
          <a:xfrm>
            <a:off x="2190539" y="2053661"/>
            <a:ext cx="7508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ges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8A31ED-B6F9-4F1D-B961-0891206C437A}"/>
              </a:ext>
            </a:extLst>
          </p:cNvPr>
          <p:cNvSpPr txBox="1"/>
          <p:nvPr/>
        </p:nvSpPr>
        <p:spPr>
          <a:xfrm>
            <a:off x="6081186" y="2053661"/>
            <a:ext cx="6224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r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FBF16C-EF3A-4A6A-8ACA-8BB31472758B}"/>
              </a:ext>
            </a:extLst>
          </p:cNvPr>
          <p:cNvSpPr txBox="1"/>
          <p:nvPr/>
        </p:nvSpPr>
        <p:spPr>
          <a:xfrm>
            <a:off x="9428191" y="2053661"/>
            <a:ext cx="6495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art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8A7DB9E9-F180-424A-AC91-4E7E3F11897E}"/>
              </a:ext>
            </a:extLst>
          </p:cNvPr>
          <p:cNvSpPr/>
          <p:nvPr/>
        </p:nvSpPr>
        <p:spPr>
          <a:xfrm>
            <a:off x="997697" y="3591784"/>
            <a:ext cx="713433" cy="653143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Picture 2" descr="Microsoft BI Tools: Azure Stream Analytics">
            <a:extLst>
              <a:ext uri="{FF2B5EF4-FFF2-40B4-BE49-F238E27FC236}">
                <a16:creationId xmlns:a16="http://schemas.microsoft.com/office/drawing/2014/main" id="{A16FF947-FC42-4A4F-9109-4E54F4F18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972" y="3690994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762EDC4B-80DA-4236-B094-C4CF49C8E0A9}"/>
              </a:ext>
            </a:extLst>
          </p:cNvPr>
          <p:cNvSpPr txBox="1"/>
          <p:nvPr/>
        </p:nvSpPr>
        <p:spPr>
          <a:xfrm>
            <a:off x="142658" y="4213488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sp>
        <p:nvSpPr>
          <p:cNvPr id="39" name="Arrow: Right 38">
            <a:extLst>
              <a:ext uri="{FF2B5EF4-FFF2-40B4-BE49-F238E27FC236}">
                <a16:creationId xmlns:a16="http://schemas.microsoft.com/office/drawing/2014/main" id="{E9656CDD-D9D9-4121-A8A2-1E39931B8A19}"/>
              </a:ext>
            </a:extLst>
          </p:cNvPr>
          <p:cNvSpPr/>
          <p:nvPr/>
        </p:nvSpPr>
        <p:spPr>
          <a:xfrm>
            <a:off x="7801812" y="3614622"/>
            <a:ext cx="713433" cy="653143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Callout: Bent Line 39">
            <a:extLst>
              <a:ext uri="{FF2B5EF4-FFF2-40B4-BE49-F238E27FC236}">
                <a16:creationId xmlns:a16="http://schemas.microsoft.com/office/drawing/2014/main" id="{B340727E-4E94-4FE1-B877-70E26010FD97}"/>
              </a:ext>
            </a:extLst>
          </p:cNvPr>
          <p:cNvSpPr/>
          <p:nvPr/>
        </p:nvSpPr>
        <p:spPr>
          <a:xfrm>
            <a:off x="8196837" y="4840883"/>
            <a:ext cx="1223284" cy="544712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55576"/>
              <a:gd name="adj6" fmla="val -59428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ow level security</a:t>
            </a:r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6FD06D5-1A3D-4D5F-B13E-2E7F3CE70602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257618" y="3223458"/>
            <a:ext cx="1751871" cy="137277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7BDB176-EA2E-4778-8A8D-CB19C9A742E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0149" t="2175" r="5258" b="4129"/>
          <a:stretch/>
        </p:blipFill>
        <p:spPr>
          <a:xfrm>
            <a:off x="5796058" y="2822572"/>
            <a:ext cx="1440619" cy="223063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32" name="Arrow: Curved Up 31">
            <a:extLst>
              <a:ext uri="{FF2B5EF4-FFF2-40B4-BE49-F238E27FC236}">
                <a16:creationId xmlns:a16="http://schemas.microsoft.com/office/drawing/2014/main" id="{F76A169A-3B70-4A45-874B-78BF391CBAE2}"/>
              </a:ext>
            </a:extLst>
          </p:cNvPr>
          <p:cNvSpPr/>
          <p:nvPr/>
        </p:nvSpPr>
        <p:spPr>
          <a:xfrm rot="868391" flipV="1">
            <a:off x="2785136" y="3128594"/>
            <a:ext cx="3813320" cy="630989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2E2F368-DAF1-4DFE-BCDA-E94EA8D857AE}"/>
              </a:ext>
            </a:extLst>
          </p:cNvPr>
          <p:cNvGrpSpPr/>
          <p:nvPr/>
        </p:nvGrpSpPr>
        <p:grpSpPr>
          <a:xfrm rot="16200000">
            <a:off x="7047797" y="3677680"/>
            <a:ext cx="845255" cy="520424"/>
            <a:chOff x="6751299" y="345864"/>
            <a:chExt cx="1630219" cy="855131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6E8080B7-0E3D-4598-9627-54493CBAF74A}"/>
                </a:ext>
              </a:extLst>
            </p:cNvPr>
            <p:cNvSpPr/>
            <p:nvPr/>
          </p:nvSpPr>
          <p:spPr>
            <a:xfrm>
              <a:off x="7109209" y="658168"/>
              <a:ext cx="914400" cy="542827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Isosceles Triangle 4">
              <a:extLst>
                <a:ext uri="{FF2B5EF4-FFF2-40B4-BE49-F238E27FC236}">
                  <a16:creationId xmlns:a16="http://schemas.microsoft.com/office/drawing/2014/main" id="{96CAC1E4-EBE5-4551-857B-FB13C614BAD0}"/>
                </a:ext>
              </a:extLst>
            </p:cNvPr>
            <p:cNvSpPr/>
            <p:nvPr/>
          </p:nvSpPr>
          <p:spPr>
            <a:xfrm flipV="1">
              <a:off x="6751299" y="345864"/>
              <a:ext cx="1630219" cy="738007"/>
            </a:xfrm>
            <a:prstGeom prst="triangl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14C57759-A576-4EA1-8A9D-10983C7A58A3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822755" y="3515263"/>
            <a:ext cx="2337244" cy="908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0871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934004-EE33-42CC-80E3-48F7426E2D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w level security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3020207-398C-4B7E-BC4C-BF5A9D2DFB17}"/>
              </a:ext>
            </a:extLst>
          </p:cNvPr>
          <p:cNvSpPr txBox="1"/>
          <p:nvPr/>
        </p:nvSpPr>
        <p:spPr>
          <a:xfrm>
            <a:off x="935752" y="5556739"/>
            <a:ext cx="10270253" cy="70788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CURIT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LIC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bo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aPointFilt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AD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T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DIC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n_datapointsecuritypredic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</a:t>
            </a: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CHEMABINDING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3B3EB85-1F10-4513-B9B1-2C1A6C88FCBB}"/>
              </a:ext>
            </a:extLst>
          </p:cNvPr>
          <p:cNvSpPr txBox="1"/>
          <p:nvPr/>
        </p:nvSpPr>
        <p:spPr>
          <a:xfrm>
            <a:off x="935752" y="1404460"/>
            <a:ext cx="10320495" cy="378565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n_datapointsecuritypredic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DataPointId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CHEMABINDING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n_datapointsecuritypredicate_result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DataPointId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REGULAR USER 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STINC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aPoint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DataPointAcces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N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DataPointAcces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le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le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US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b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b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ADMIN USER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b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ISTS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x'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le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  <a:r>
              <a:rPr lang="en-US" sz="10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Admin</a:t>
            </a:r>
            <a:r>
              <a:rPr lang="en-US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USER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)</a:t>
            </a:r>
          </a:p>
        </p:txBody>
      </p:sp>
    </p:spTree>
    <p:extLst>
      <p:ext uri="{BB962C8B-B14F-4D97-AF65-F5344CB8AC3E}">
        <p14:creationId xmlns:p14="http://schemas.microsoft.com/office/powerpoint/2010/main" val="292123721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B97D78-6237-4EA1-B5AD-9A3BF155B0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curity related tabl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6F67B3A-F9B7-4453-904E-61E407A9B58C}"/>
              </a:ext>
            </a:extLst>
          </p:cNvPr>
          <p:cNvSpPr/>
          <p:nvPr/>
        </p:nvSpPr>
        <p:spPr>
          <a:xfrm>
            <a:off x="879231" y="1939332"/>
            <a:ext cx="10204383" cy="21503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BDBC0AC-2657-473B-AC8F-7B31F2A8A78F}"/>
              </a:ext>
            </a:extLst>
          </p:cNvPr>
          <p:cNvSpPr/>
          <p:nvPr/>
        </p:nvSpPr>
        <p:spPr>
          <a:xfrm>
            <a:off x="7715459" y="4031064"/>
            <a:ext cx="3423421" cy="22592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F2A7B1A-044D-44EC-BEE3-AAA26D419E52}"/>
              </a:ext>
            </a:extLst>
          </p:cNvPr>
          <p:cNvSpPr/>
          <p:nvPr/>
        </p:nvSpPr>
        <p:spPr>
          <a:xfrm>
            <a:off x="916075" y="3977472"/>
            <a:ext cx="6519705" cy="22592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CF6A0F1-FBC4-4941-A500-87F1614215FE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0F0F0"/>
              </a:clrFrom>
              <a:clrTo>
                <a:srgbClr val="F0F0F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8200" y="1909368"/>
            <a:ext cx="10529027" cy="4380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423979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89997C-8CC5-4756-B637-4F09E7C50E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 Optimization</a:t>
            </a:r>
            <a:r>
              <a:rPr lang="en-US" sz="3600" dirty="0"/>
              <a:t>(Unique Key reference)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E7294CF-CAA0-4F87-9FF9-9380F53ECDEA}"/>
              </a:ext>
            </a:extLst>
          </p:cNvPr>
          <p:cNvSpPr txBox="1"/>
          <p:nvPr/>
        </p:nvSpPr>
        <p:spPr>
          <a:xfrm>
            <a:off x="884255" y="1602712"/>
            <a:ext cx="10449126" cy="24006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G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NIQUEIDENTIFI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AUL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ID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name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K_Security_ApplicationUser_UserI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NIQUE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Remark]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55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dB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f_Security_ApplicationUser_createdb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AULT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 err="1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ser_sna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From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NERATE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WAY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AR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To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NERATE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WAY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IMAR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NCLUSTERED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G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ERIO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TIME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From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To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VERSIONING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ISTORY_TABL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Histor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ATA_CONSISTENCY_CHECK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;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8D2203-6B83-4D31-9166-38C620FB566A}"/>
              </a:ext>
            </a:extLst>
          </p:cNvPr>
          <p:cNvSpPr txBox="1"/>
          <p:nvPr/>
        </p:nvSpPr>
        <p:spPr>
          <a:xfrm>
            <a:off x="884255" y="4109776"/>
            <a:ext cx="10449126" cy="255454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G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NIQUEIDENTIFI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AUL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ID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le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Remark]     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55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dB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f_rolemember_createdb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AULT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 err="1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ser_sna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From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NERATE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WAY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AR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To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NERATE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WAY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K_security_applicationrolememb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IMAR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NCLUSTERED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G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K_security_applicationrolememb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NIQU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STERED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le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K_ApplicationRoleMember_ApplicationRole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EIGN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leI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FERENCE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leI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K_ApplicationRoleMember_ApplicationUs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EIG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FERENCE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ERIO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TIME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From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To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VERSIONING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ISTORY_TABL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Histor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ATA_CONSISTENCY_CHECK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;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911110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3CF64B-0499-4648-ABD1-5B71602085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mporal Table for Security related tab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3954833-38AC-4533-AA46-8F50D96F1A70}"/>
              </a:ext>
            </a:extLst>
          </p:cNvPr>
          <p:cNvSpPr txBox="1"/>
          <p:nvPr/>
        </p:nvSpPr>
        <p:spPr>
          <a:xfrm>
            <a:off x="884255" y="1602712"/>
            <a:ext cx="10449126" cy="24006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G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NIQUEIDENTIFI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AUL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ID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K_Security_ApplicationUser_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NIQU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Remark]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55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dB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f_Security_ApplicationUser_createdb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AULT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 err="1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ser_sna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From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NERATE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WAY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AR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To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NERATE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WAY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</a:p>
          <a:p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IMAR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NCLUSTERED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G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ERIO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TIME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From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To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VERSIONING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ISTORY_TABLE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ecurity]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History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ATA_CONSISTENCY_CHECK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;</a:t>
            </a:r>
            <a:endParaRPr lang="en-US" sz="10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DDA4134-A36C-4C30-924D-05041B94C0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4255" y="4271694"/>
            <a:ext cx="6519072" cy="969262"/>
          </a:xfrm>
          <a:prstGeom prst="rect">
            <a:avLst/>
          </a:prstGeom>
          <a:ln>
            <a:solidFill>
              <a:schemeClr val="accent1">
                <a:shade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402863177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/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/>
              <a:t>Poor man’s digital twin </a:t>
            </a:r>
          </a:p>
          <a:p>
            <a:pPr lvl="1"/>
            <a:r>
              <a:rPr lang="en-US" dirty="0"/>
              <a:t>Restrict Data Access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Efficient Queries</a:t>
            </a:r>
          </a:p>
          <a:p>
            <a:pPr lvl="1"/>
            <a:r>
              <a:rPr lang="en-US" dirty="0"/>
              <a:t>Monitor activity/reset the database</a:t>
            </a:r>
          </a:p>
          <a:p>
            <a:r>
              <a:rPr lang="en-US" dirty="0"/>
              <a:t>Database Tiers</a:t>
            </a:r>
          </a:p>
          <a:p>
            <a:r>
              <a:rPr lang="en-US" dirty="0"/>
              <a:t>Conclusion and next Steps</a:t>
            </a:r>
          </a:p>
          <a:p>
            <a:pPr lvl="1"/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085702525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562D9C-3E82-454D-B8BC-56B3C7BFEE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27301"/>
            <a:ext cx="10515600" cy="1325563"/>
          </a:xfrm>
        </p:spPr>
        <p:txBody>
          <a:bodyPr/>
          <a:lstStyle/>
          <a:p>
            <a:r>
              <a:rPr lang="de-CH" dirty="0"/>
              <a:t>Effizient </a:t>
            </a:r>
            <a:r>
              <a:rPr lang="de-CH" dirty="0" err="1"/>
              <a:t>Querie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A34485-BA38-4C38-9CC8-FD83A0FFDC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87801"/>
            <a:ext cx="10515600" cy="4351338"/>
          </a:xfrm>
        </p:spPr>
        <p:txBody>
          <a:bodyPr/>
          <a:lstStyle/>
          <a:p>
            <a:r>
              <a:rPr lang="en-US" dirty="0"/>
              <a:t>Partition elimination is key</a:t>
            </a:r>
            <a:endParaRPr lang="en-CH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5B0E5A2-3FED-4180-BD4E-056779F348EA}"/>
              </a:ext>
            </a:extLst>
          </p:cNvPr>
          <p:cNvCxnSpPr>
            <a:cxnSpLocks/>
          </p:cNvCxnSpPr>
          <p:nvPr/>
        </p:nvCxnSpPr>
        <p:spPr>
          <a:xfrm flipH="1">
            <a:off x="4826074" y="4581818"/>
            <a:ext cx="1654" cy="147947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DA153C9-BA78-441C-8866-4DADD5D48F72}"/>
              </a:ext>
            </a:extLst>
          </p:cNvPr>
          <p:cNvCxnSpPr>
            <a:cxnSpLocks/>
          </p:cNvCxnSpPr>
          <p:nvPr/>
        </p:nvCxnSpPr>
        <p:spPr>
          <a:xfrm>
            <a:off x="1549049" y="531705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6B68CB7-DF6F-438C-8ECC-D52B53EED235}"/>
              </a:ext>
            </a:extLst>
          </p:cNvPr>
          <p:cNvCxnSpPr>
            <a:cxnSpLocks/>
          </p:cNvCxnSpPr>
          <p:nvPr/>
        </p:nvCxnSpPr>
        <p:spPr>
          <a:xfrm>
            <a:off x="2371664" y="5312950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1A533F9-DA5E-4F1E-8967-66CF010F4EC0}"/>
              </a:ext>
            </a:extLst>
          </p:cNvPr>
          <p:cNvCxnSpPr>
            <a:cxnSpLocks/>
          </p:cNvCxnSpPr>
          <p:nvPr/>
        </p:nvCxnSpPr>
        <p:spPr>
          <a:xfrm>
            <a:off x="3202944" y="5312950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54C0AA-F7C6-45C8-B2A9-AD0C7EFA885B}"/>
              </a:ext>
            </a:extLst>
          </p:cNvPr>
          <p:cNvCxnSpPr>
            <a:cxnSpLocks/>
          </p:cNvCxnSpPr>
          <p:nvPr/>
        </p:nvCxnSpPr>
        <p:spPr>
          <a:xfrm>
            <a:off x="4003044" y="5312950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B999EE6-4CA7-44C5-AC72-2F64C993D22A}"/>
              </a:ext>
            </a:extLst>
          </p:cNvPr>
          <p:cNvCxnSpPr>
            <a:cxnSpLocks/>
          </p:cNvCxnSpPr>
          <p:nvPr/>
        </p:nvCxnSpPr>
        <p:spPr>
          <a:xfrm flipH="1">
            <a:off x="5665603" y="5349317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179521D-7A9D-4C86-A1C2-2E76148A3499}"/>
              </a:ext>
            </a:extLst>
          </p:cNvPr>
          <p:cNvCxnSpPr>
            <a:cxnSpLocks/>
          </p:cNvCxnSpPr>
          <p:nvPr/>
        </p:nvCxnSpPr>
        <p:spPr>
          <a:xfrm>
            <a:off x="6488218" y="5319890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F2D7F58-104C-46F8-8F54-BB5510A146CA}"/>
              </a:ext>
            </a:extLst>
          </p:cNvPr>
          <p:cNvCxnSpPr>
            <a:cxnSpLocks/>
          </p:cNvCxnSpPr>
          <p:nvPr/>
        </p:nvCxnSpPr>
        <p:spPr>
          <a:xfrm>
            <a:off x="7319498" y="5319890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3669CB5-7C16-48DF-8E49-A5AC9789495A}"/>
              </a:ext>
            </a:extLst>
          </p:cNvPr>
          <p:cNvCxnSpPr>
            <a:cxnSpLocks/>
          </p:cNvCxnSpPr>
          <p:nvPr/>
        </p:nvCxnSpPr>
        <p:spPr>
          <a:xfrm>
            <a:off x="8119598" y="5319890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323899A-493E-4253-BE55-425F929B6E7A}"/>
              </a:ext>
            </a:extLst>
          </p:cNvPr>
          <p:cNvCxnSpPr>
            <a:cxnSpLocks/>
          </p:cNvCxnSpPr>
          <p:nvPr/>
        </p:nvCxnSpPr>
        <p:spPr>
          <a:xfrm>
            <a:off x="8942628" y="5319890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F90240D-4977-4A9C-86CE-19B366BDDD37}"/>
              </a:ext>
            </a:extLst>
          </p:cNvPr>
          <p:cNvCxnSpPr>
            <a:cxnSpLocks/>
          </p:cNvCxnSpPr>
          <p:nvPr/>
        </p:nvCxnSpPr>
        <p:spPr>
          <a:xfrm>
            <a:off x="9775623" y="5316428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CFCD1862-5462-429B-849C-22220A7AC4F3}"/>
              </a:ext>
            </a:extLst>
          </p:cNvPr>
          <p:cNvSpPr/>
          <p:nvPr/>
        </p:nvSpPr>
        <p:spPr>
          <a:xfrm>
            <a:off x="1537257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3E0A4883-7909-4886-945B-51A76C60C78F}"/>
              </a:ext>
            </a:extLst>
          </p:cNvPr>
          <p:cNvCxnSpPr/>
          <p:nvPr/>
        </p:nvCxnSpPr>
        <p:spPr>
          <a:xfrm>
            <a:off x="1430752" y="5917063"/>
            <a:ext cx="10080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CEC46A7A-E3A5-444A-8442-29D25598CE72}"/>
              </a:ext>
            </a:extLst>
          </p:cNvPr>
          <p:cNvSpPr/>
          <p:nvPr/>
        </p:nvSpPr>
        <p:spPr>
          <a:xfrm>
            <a:off x="2359875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D02617B-A82F-447E-9DAB-0603DE0C4F12}"/>
              </a:ext>
            </a:extLst>
          </p:cNvPr>
          <p:cNvSpPr/>
          <p:nvPr/>
        </p:nvSpPr>
        <p:spPr>
          <a:xfrm>
            <a:off x="3182493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7F121C4-32D2-40F8-80FD-05B32B4D07F6}"/>
              </a:ext>
            </a:extLst>
          </p:cNvPr>
          <p:cNvSpPr/>
          <p:nvPr/>
        </p:nvSpPr>
        <p:spPr>
          <a:xfrm>
            <a:off x="4005111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7EF7C68-EBD9-48C4-B961-3F140DE242B0}"/>
              </a:ext>
            </a:extLst>
          </p:cNvPr>
          <p:cNvSpPr/>
          <p:nvPr/>
        </p:nvSpPr>
        <p:spPr>
          <a:xfrm>
            <a:off x="4827728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E6B2E7D-E35E-41E5-AF9A-AF1EC0D25BE2}"/>
              </a:ext>
            </a:extLst>
          </p:cNvPr>
          <p:cNvSpPr/>
          <p:nvPr/>
        </p:nvSpPr>
        <p:spPr>
          <a:xfrm>
            <a:off x="5653811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7EC6B34-2083-481D-A587-4A5A362BFB1E}"/>
              </a:ext>
            </a:extLst>
          </p:cNvPr>
          <p:cNvSpPr/>
          <p:nvPr/>
        </p:nvSpPr>
        <p:spPr>
          <a:xfrm>
            <a:off x="6476429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2167333-ACE4-4708-B4FE-B7C892A7E5EC}"/>
              </a:ext>
            </a:extLst>
          </p:cNvPr>
          <p:cNvSpPr/>
          <p:nvPr/>
        </p:nvSpPr>
        <p:spPr>
          <a:xfrm>
            <a:off x="7299047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708564F-FB04-4D74-89E0-C20045D793CE}"/>
              </a:ext>
            </a:extLst>
          </p:cNvPr>
          <p:cNvSpPr/>
          <p:nvPr/>
        </p:nvSpPr>
        <p:spPr>
          <a:xfrm>
            <a:off x="1539026" y="4728353"/>
            <a:ext cx="3261309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414F719-4CB4-4E17-8B06-18E3517B3A67}"/>
              </a:ext>
            </a:extLst>
          </p:cNvPr>
          <p:cNvSpPr/>
          <p:nvPr/>
        </p:nvSpPr>
        <p:spPr>
          <a:xfrm>
            <a:off x="4800335" y="4726170"/>
            <a:ext cx="5775387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043892E2-A0C9-433A-B4C6-CD39AE945E61}"/>
              </a:ext>
            </a:extLst>
          </p:cNvPr>
          <p:cNvCxnSpPr>
            <a:cxnSpLocks/>
          </p:cNvCxnSpPr>
          <p:nvPr/>
        </p:nvCxnSpPr>
        <p:spPr>
          <a:xfrm>
            <a:off x="10565339" y="4581818"/>
            <a:ext cx="0" cy="148641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3804B249-29F4-4823-B4C8-68CEA42898BE}"/>
              </a:ext>
            </a:extLst>
          </p:cNvPr>
          <p:cNvSpPr txBox="1"/>
          <p:nvPr/>
        </p:nvSpPr>
        <p:spPr>
          <a:xfrm flipH="1">
            <a:off x="88719" y="5410938"/>
            <a:ext cx="14658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</a:p>
          <a:p>
            <a:r>
              <a:rPr lang="en-US" sz="800" dirty="0"/>
              <a:t>[Core].[Measurement]</a:t>
            </a:r>
          </a:p>
          <a:p>
            <a:r>
              <a:rPr lang="en-US" sz="800" dirty="0"/>
              <a:t>(Day partition)</a:t>
            </a:r>
            <a:endParaRPr lang="en-CH" sz="8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1986B20-4B09-4B5E-B6C6-1940749C2A74}"/>
              </a:ext>
            </a:extLst>
          </p:cNvPr>
          <p:cNvSpPr txBox="1"/>
          <p:nvPr/>
        </p:nvSpPr>
        <p:spPr>
          <a:xfrm flipH="1">
            <a:off x="84936" y="4738276"/>
            <a:ext cx="1414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Store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1E48C7A-AC11-4D96-835B-C53E55054311}"/>
              </a:ext>
            </a:extLst>
          </p:cNvPr>
          <p:cNvSpPr txBox="1"/>
          <p:nvPr/>
        </p:nvSpPr>
        <p:spPr>
          <a:xfrm flipH="1">
            <a:off x="4509604" y="6249376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1</a:t>
            </a:r>
            <a:endParaRPr lang="en-CH" sz="8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2D6C4AB-B6AA-41E5-A169-26CDA90A310D}"/>
              </a:ext>
            </a:extLst>
          </p:cNvPr>
          <p:cNvSpPr txBox="1"/>
          <p:nvPr/>
        </p:nvSpPr>
        <p:spPr>
          <a:xfrm flipH="1">
            <a:off x="10259252" y="6249376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301</a:t>
            </a:r>
            <a:endParaRPr lang="en-CH" sz="800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AEE0CAB-CE21-4ABE-A316-7401690ECD03}"/>
              </a:ext>
            </a:extLst>
          </p:cNvPr>
          <p:cNvSpPr txBox="1"/>
          <p:nvPr/>
        </p:nvSpPr>
        <p:spPr>
          <a:xfrm flipH="1">
            <a:off x="3673129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1</a:t>
            </a:r>
            <a:endParaRPr lang="en-CH" sz="800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5470D1E-D552-45BB-8EE9-D6099D1759C0}"/>
              </a:ext>
            </a:extLst>
          </p:cNvPr>
          <p:cNvSpPr txBox="1"/>
          <p:nvPr/>
        </p:nvSpPr>
        <p:spPr>
          <a:xfrm flipH="1">
            <a:off x="2903001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0</a:t>
            </a:r>
            <a:endParaRPr lang="en-CH" sz="800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47736F7C-AB2D-4865-AE31-F4F568F1D5C1}"/>
              </a:ext>
            </a:extLst>
          </p:cNvPr>
          <p:cNvSpPr txBox="1"/>
          <p:nvPr/>
        </p:nvSpPr>
        <p:spPr>
          <a:xfrm flipH="1">
            <a:off x="2023691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9</a:t>
            </a:r>
            <a:endParaRPr lang="en-CH" sz="800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7EBE85E-A6C5-4906-AC3C-DF243F97E1A2}"/>
              </a:ext>
            </a:extLst>
          </p:cNvPr>
          <p:cNvSpPr txBox="1"/>
          <p:nvPr/>
        </p:nvSpPr>
        <p:spPr>
          <a:xfrm flipH="1">
            <a:off x="1253563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8</a:t>
            </a:r>
            <a:endParaRPr lang="en-CH" sz="800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42CD2FE-A96F-4E98-9B6A-48EF84282608}"/>
              </a:ext>
            </a:extLst>
          </p:cNvPr>
          <p:cNvSpPr txBox="1"/>
          <p:nvPr/>
        </p:nvSpPr>
        <p:spPr>
          <a:xfrm flipH="1">
            <a:off x="7777968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…</a:t>
            </a:r>
            <a:endParaRPr lang="en-CH" sz="800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FA213F6-22F5-496E-9C20-BCDFEE266F69}"/>
              </a:ext>
            </a:extLst>
          </p:cNvPr>
          <p:cNvSpPr txBox="1"/>
          <p:nvPr/>
        </p:nvSpPr>
        <p:spPr>
          <a:xfrm flipH="1">
            <a:off x="7007840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4</a:t>
            </a:r>
            <a:endParaRPr lang="en-CH" sz="800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7C9F07D-3484-4B6B-BF88-7697455679F3}"/>
              </a:ext>
            </a:extLst>
          </p:cNvPr>
          <p:cNvSpPr txBox="1"/>
          <p:nvPr/>
        </p:nvSpPr>
        <p:spPr>
          <a:xfrm flipH="1">
            <a:off x="6128530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3</a:t>
            </a:r>
            <a:endParaRPr lang="en-CH" sz="800" dirty="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3DFECDF-FA1C-43DA-8FCD-63D18B991160}"/>
              </a:ext>
            </a:extLst>
          </p:cNvPr>
          <p:cNvSpPr txBox="1"/>
          <p:nvPr/>
        </p:nvSpPr>
        <p:spPr>
          <a:xfrm flipH="1">
            <a:off x="5358402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2</a:t>
            </a:r>
            <a:endParaRPr lang="en-CH" sz="800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C2A7BD8-8835-45FF-B17B-16E41E8448A2}"/>
              </a:ext>
            </a:extLst>
          </p:cNvPr>
          <p:cNvSpPr txBox="1"/>
          <p:nvPr/>
        </p:nvSpPr>
        <p:spPr>
          <a:xfrm flipH="1">
            <a:off x="1429542" y="4801471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0</a:t>
            </a:r>
          </a:p>
          <a:p>
            <a:pPr algn="ctr"/>
            <a:r>
              <a:rPr lang="en-US" sz="700" dirty="0"/>
              <a:t>B 12.1</a:t>
            </a:r>
          </a:p>
          <a:p>
            <a:pPr algn="ctr"/>
            <a:r>
              <a:rPr lang="en-US" sz="700" dirty="0"/>
              <a:t>C 77.4</a:t>
            </a:r>
            <a:endParaRPr lang="en-CH" sz="700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7CDB030-5496-4795-A9D8-2D569F990299}"/>
              </a:ext>
            </a:extLst>
          </p:cNvPr>
          <p:cNvSpPr txBox="1"/>
          <p:nvPr/>
        </p:nvSpPr>
        <p:spPr>
          <a:xfrm flipH="1">
            <a:off x="1796162" y="4801471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7.0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55.1</a:t>
            </a:r>
            <a:endParaRPr lang="en-CH" sz="700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86E03015-01A4-4C5F-A3A9-21E9F010D2E6}"/>
              </a:ext>
            </a:extLst>
          </p:cNvPr>
          <p:cNvSpPr txBox="1"/>
          <p:nvPr/>
        </p:nvSpPr>
        <p:spPr>
          <a:xfrm flipH="1">
            <a:off x="2135735" y="4800603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5</a:t>
            </a:r>
          </a:p>
          <a:p>
            <a:pPr algn="ctr"/>
            <a:r>
              <a:rPr lang="en-US" sz="700" dirty="0"/>
              <a:t>B 15.5</a:t>
            </a:r>
          </a:p>
          <a:p>
            <a:pPr algn="ctr"/>
            <a:r>
              <a:rPr lang="en-US" sz="700" dirty="0"/>
              <a:t>D 11.4</a:t>
            </a:r>
            <a:endParaRPr lang="en-CH" sz="7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8194E371-9DF7-4B3F-AFD7-CF9B7415C8FC}"/>
              </a:ext>
            </a:extLst>
          </p:cNvPr>
          <p:cNvSpPr txBox="1"/>
          <p:nvPr/>
        </p:nvSpPr>
        <p:spPr>
          <a:xfrm flipH="1">
            <a:off x="3963193" y="541416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55.1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78.5</a:t>
            </a:r>
            <a:endParaRPr lang="en-CH" sz="700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E25F05B-466C-45E3-B4F4-D813DF31971F}"/>
              </a:ext>
            </a:extLst>
          </p:cNvPr>
          <p:cNvSpPr txBox="1"/>
          <p:nvPr/>
        </p:nvSpPr>
        <p:spPr>
          <a:xfrm flipH="1">
            <a:off x="4809726" y="541416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4</a:t>
            </a:r>
          </a:p>
          <a:p>
            <a:pPr algn="ctr"/>
            <a:r>
              <a:rPr lang="en-US" sz="700" dirty="0"/>
              <a:t>B 42.1</a:t>
            </a:r>
          </a:p>
          <a:p>
            <a:pPr algn="ctr"/>
            <a:r>
              <a:rPr lang="en-US" sz="700" dirty="0"/>
              <a:t>D 15.4</a:t>
            </a:r>
            <a:endParaRPr lang="en-CH" sz="7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FE1EAA1-B3CB-43FA-AFC9-F84CE16013FE}"/>
              </a:ext>
            </a:extLst>
          </p:cNvPr>
          <p:cNvSpPr txBox="1"/>
          <p:nvPr/>
        </p:nvSpPr>
        <p:spPr>
          <a:xfrm flipH="1">
            <a:off x="5656259" y="541416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1</a:t>
            </a:r>
          </a:p>
          <a:p>
            <a:pPr algn="ctr"/>
            <a:r>
              <a:rPr lang="en-US" sz="700" dirty="0"/>
              <a:t>B 12.5</a:t>
            </a:r>
          </a:p>
          <a:p>
            <a:pPr algn="ctr"/>
            <a:r>
              <a:rPr lang="en-US" sz="700" dirty="0"/>
              <a:t>C 77.8</a:t>
            </a:r>
            <a:endParaRPr lang="en-CH" sz="700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97ABF24-8989-4F60-A450-7BB752BEA921}"/>
              </a:ext>
            </a:extLst>
          </p:cNvPr>
          <p:cNvSpPr txBox="1"/>
          <p:nvPr/>
        </p:nvSpPr>
        <p:spPr>
          <a:xfrm flipH="1">
            <a:off x="6502792" y="541416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35.0</a:t>
            </a:r>
          </a:p>
          <a:p>
            <a:pPr algn="ctr"/>
            <a:r>
              <a:rPr lang="en-US" sz="700" dirty="0"/>
              <a:t>B 15.1</a:t>
            </a:r>
          </a:p>
          <a:p>
            <a:pPr algn="ctr"/>
            <a:r>
              <a:rPr lang="en-US" sz="700" dirty="0"/>
              <a:t>C 75.5</a:t>
            </a:r>
            <a:endParaRPr lang="en-CH" sz="7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B867EA8-B151-4330-BB93-31D0DBAC8CFD}"/>
              </a:ext>
            </a:extLst>
          </p:cNvPr>
          <p:cNvSpPr txBox="1"/>
          <p:nvPr/>
        </p:nvSpPr>
        <p:spPr>
          <a:xfrm flipH="1">
            <a:off x="7349327" y="541416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3</a:t>
            </a:r>
          </a:p>
          <a:p>
            <a:pPr algn="ctr"/>
            <a:r>
              <a:rPr lang="en-US" sz="700" dirty="0"/>
              <a:t>B 18.9</a:t>
            </a:r>
          </a:p>
          <a:p>
            <a:pPr algn="ctr"/>
            <a:r>
              <a:rPr lang="en-US" sz="700" dirty="0"/>
              <a:t>C 67.4</a:t>
            </a:r>
            <a:endParaRPr lang="en-CH" sz="700" dirty="0"/>
          </a:p>
        </p:txBody>
      </p:sp>
      <p:sp>
        <p:nvSpPr>
          <p:cNvPr id="48" name="Right Brace 47">
            <a:extLst>
              <a:ext uri="{FF2B5EF4-FFF2-40B4-BE49-F238E27FC236}">
                <a16:creationId xmlns:a16="http://schemas.microsoft.com/office/drawing/2014/main" id="{E0027BA3-003A-4A7E-9211-2C7D939C3A95}"/>
              </a:ext>
            </a:extLst>
          </p:cNvPr>
          <p:cNvSpPr/>
          <p:nvPr/>
        </p:nvSpPr>
        <p:spPr>
          <a:xfrm>
            <a:off x="10672482" y="4574878"/>
            <a:ext cx="295280" cy="130458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2A2BAFAB-DCAC-4E7B-A11F-39149CB33E90}"/>
              </a:ext>
            </a:extLst>
          </p:cNvPr>
          <p:cNvSpPr txBox="1"/>
          <p:nvPr/>
        </p:nvSpPr>
        <p:spPr>
          <a:xfrm flipH="1">
            <a:off x="10940684" y="5067345"/>
            <a:ext cx="12473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View:</a:t>
            </a:r>
          </a:p>
          <a:p>
            <a:r>
              <a:rPr lang="en-US" sz="800" dirty="0"/>
              <a:t>[Core].[</a:t>
            </a:r>
            <a:r>
              <a:rPr lang="en-US" sz="800" dirty="0" err="1"/>
              <a:t>AllMeasurement</a:t>
            </a:r>
            <a:r>
              <a:rPr lang="en-US" sz="800" dirty="0"/>
              <a:t>]</a:t>
            </a: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78AD1D53-71E0-40E1-80B2-171E601626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99617" y="15974"/>
            <a:ext cx="2292383" cy="1379075"/>
          </a:xfrm>
          <a:prstGeom prst="rect">
            <a:avLst/>
          </a:prstGeom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id="{54A791C7-D3D3-49E6-A08D-CECCE282C789}"/>
              </a:ext>
            </a:extLst>
          </p:cNvPr>
          <p:cNvSpPr txBox="1"/>
          <p:nvPr/>
        </p:nvSpPr>
        <p:spPr>
          <a:xfrm>
            <a:off x="942173" y="2062497"/>
            <a:ext cx="10962221" cy="230832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95000"/>
                <a:lumOff val="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CH" sz="12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clar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FromTs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2021-12-11 12:37:57.119'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2021-12-11 13:37:57.119</a:t>
            </a:r>
            <a:r>
              <a:rPr lang="en-US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</a:t>
            </a:r>
          </a:p>
          <a:p>
            <a:endParaRPr lang="en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lMeasuremen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SignalId</a:t>
            </a: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2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=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FromTs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12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2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ToTs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12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=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FromTs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ToTs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33E316D3-F8FB-4CDA-9C55-9C697E52DF5E}"/>
              </a:ext>
            </a:extLst>
          </p:cNvPr>
          <p:cNvSpPr txBox="1"/>
          <p:nvPr/>
        </p:nvSpPr>
        <p:spPr>
          <a:xfrm>
            <a:off x="5715000" y="2583607"/>
            <a:ext cx="6388282" cy="83099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95000"/>
                <a:lumOff val="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art]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2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MeasurementForSignal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b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,</a:t>
            </a:r>
            <a:r>
              <a:rPr lang="en-US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2021-12-11 12:37:57.119'</a:t>
            </a:r>
            <a:br>
              <a:rPr lang="en-US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2021-12-11 13:37:57.119'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22557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 animBg="1"/>
    </p:bld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B2A3AF-6D5A-42D5-8A06-344313405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fficient Queries and Power BI – Direct Query</a:t>
            </a:r>
            <a:endParaRPr lang="en-CH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AE48933-8430-4311-A0C3-4C898E2980F9}"/>
              </a:ext>
            </a:extLst>
          </p:cNvPr>
          <p:cNvSpPr txBox="1"/>
          <p:nvPr/>
        </p:nvSpPr>
        <p:spPr>
          <a:xfrm>
            <a:off x="960967" y="1825625"/>
            <a:ext cx="10802957" cy="440120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Mart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MeasurementForRelativeTimeWindow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@DeltaTime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5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Date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)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                                                                                    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ct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OFFSE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ZON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Central European Standard Time'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et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                                                                       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ct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                                              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ctTs_Daypar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-- CONVERT(VARCHAR(12) is required to be able to zoom in </a:t>
            </a:r>
            <a:r>
              <a:rPr lang="en-US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werBI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below seconds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2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Ts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21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       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ctTs_Timepar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OFFSE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ZON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Central European Standard Time'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etTs_Daypar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-- CONVERT(VARCHAR(12) is required to be able to zoom in </a:t>
            </a:r>
            <a:r>
              <a:rPr lang="en-US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werBI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below seconds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2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OFFSE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ZON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Central European Standard Time'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etTs_Timepar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Core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lMeasuremen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OS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Mart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RelativeTimeWindow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DeltaTi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EndDateTi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tcTs_DayStartD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tcTs_DayEndD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=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tcStartDate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tcEndDate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endParaRPr lang="en-CH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Callout: Bent Line 4">
            <a:extLst>
              <a:ext uri="{FF2B5EF4-FFF2-40B4-BE49-F238E27FC236}">
                <a16:creationId xmlns:a16="http://schemas.microsoft.com/office/drawing/2014/main" id="{6BEAC638-29EC-4DBE-9C85-EE4E90C2646D}"/>
              </a:ext>
            </a:extLst>
          </p:cNvPr>
          <p:cNvSpPr/>
          <p:nvPr/>
        </p:nvSpPr>
        <p:spPr>
          <a:xfrm>
            <a:off x="6296069" y="5762552"/>
            <a:ext cx="1620263" cy="544712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62316"/>
              <a:gd name="adj6" fmla="val -47430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ynamic M-Parameter</a:t>
            </a:r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93481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B2A3AF-6D5A-42D5-8A06-344313405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fficient Queries and Power BI – Direct Query</a:t>
            </a:r>
            <a:endParaRPr lang="en-CH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AE48933-8430-4311-A0C3-4C898E2980F9}"/>
              </a:ext>
            </a:extLst>
          </p:cNvPr>
          <p:cNvSpPr txBox="1"/>
          <p:nvPr/>
        </p:nvSpPr>
        <p:spPr>
          <a:xfrm>
            <a:off x="960967" y="1825625"/>
            <a:ext cx="10802957" cy="440120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Mart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MeasurementForRelativeTimeWindow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@DeltaTime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5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Date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)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                                                                                    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ct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OFFSE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ZON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Central European Standard Time'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et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                                                                       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ct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                                              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ctTs_Daypar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-- CONVERT(VARCHAR(12) is required to be able to zoom in </a:t>
            </a:r>
            <a:r>
              <a:rPr lang="en-US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werBI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below seconds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2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Ts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21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       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ctTs_Timepar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OFFSE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ZON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Central European Standard Time'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etTs_Daypar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-- CONVERT(VARCHAR(12) is required to be able to zoom in </a:t>
            </a:r>
            <a:r>
              <a:rPr lang="en-US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werBI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below seconds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2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OFFSE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ZON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Central European Standard Time'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etTs_Timepar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Core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lMeasuremen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OS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Mart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RelativeTimeWindow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DeltaTi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EndDateTi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tcTs_DayStartD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tcTs_DayEndD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=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tcStartDate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tcEndDate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endParaRPr lang="en-CH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Callout: Bent Line 4">
            <a:extLst>
              <a:ext uri="{FF2B5EF4-FFF2-40B4-BE49-F238E27FC236}">
                <a16:creationId xmlns:a16="http://schemas.microsoft.com/office/drawing/2014/main" id="{6BEAC638-29EC-4DBE-9C85-EE4E90C2646D}"/>
              </a:ext>
            </a:extLst>
          </p:cNvPr>
          <p:cNvSpPr/>
          <p:nvPr/>
        </p:nvSpPr>
        <p:spPr>
          <a:xfrm>
            <a:off x="6296069" y="5762552"/>
            <a:ext cx="1620263" cy="544712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62316"/>
              <a:gd name="adj6" fmla="val -47430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ynamic </a:t>
            </a:r>
            <a:b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-Parameter</a:t>
            </a:r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BE86196-074F-4A00-B713-E18C5AC55C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14710" y="1991349"/>
            <a:ext cx="6157156" cy="3125985"/>
          </a:xfrm>
          <a:prstGeom prst="rect">
            <a:avLst/>
          </a:prstGeom>
          <a:ln>
            <a:solidFill>
              <a:schemeClr val="accent1">
                <a:shade val="50000"/>
              </a:schemeClr>
            </a:solidFill>
          </a:ln>
        </p:spPr>
      </p:pic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5D24C9A8-F8C8-41E9-8512-FFB2EE0EE055}"/>
              </a:ext>
            </a:extLst>
          </p:cNvPr>
          <p:cNvCxnSpPr>
            <a:cxnSpLocks/>
          </p:cNvCxnSpPr>
          <p:nvPr/>
        </p:nvCxnSpPr>
        <p:spPr>
          <a:xfrm flipH="1">
            <a:off x="7979833" y="4360333"/>
            <a:ext cx="3111500" cy="140221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BD64AA34-9EC3-4944-B4C5-A69A223963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02380" y="2836593"/>
            <a:ext cx="6715174" cy="1347797"/>
          </a:xfrm>
          <a:prstGeom prst="rect">
            <a:avLst/>
          </a:prstGeom>
          <a:ln>
            <a:solidFill>
              <a:schemeClr val="accent1">
                <a:shade val="50000"/>
              </a:schemeClr>
            </a:solidFill>
          </a:ln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E4B7D57C-9BD9-450B-9B0B-6008AE4BB82B}"/>
              </a:ext>
            </a:extLst>
          </p:cNvPr>
          <p:cNvSpPr/>
          <p:nvPr/>
        </p:nvSpPr>
        <p:spPr>
          <a:xfrm>
            <a:off x="7476067" y="3657600"/>
            <a:ext cx="698500" cy="190500"/>
          </a:xfrm>
          <a:prstGeom prst="ellipse">
            <a:avLst/>
          </a:prstGeom>
          <a:noFill/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D62F486-34D4-4A52-9075-741D65F0A2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25292" y="3998138"/>
            <a:ext cx="2781320" cy="1119196"/>
          </a:xfrm>
          <a:prstGeom prst="rect">
            <a:avLst/>
          </a:prstGeom>
          <a:ln>
            <a:solidFill>
              <a:schemeClr val="accent1">
                <a:shade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475195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3" grpId="0" animBg="1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/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/>
              <a:t>Poor man’s digital twin </a:t>
            </a:r>
          </a:p>
          <a:p>
            <a:pPr lvl="1"/>
            <a:r>
              <a:rPr lang="en-US" dirty="0"/>
              <a:t>Restrict Data Access</a:t>
            </a:r>
          </a:p>
          <a:p>
            <a:pPr lvl="1"/>
            <a:r>
              <a:rPr lang="en-US" dirty="0"/>
              <a:t>Efficient Queries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Monitor activity/reset the database</a:t>
            </a:r>
          </a:p>
          <a:p>
            <a:r>
              <a:rPr lang="en-US" dirty="0"/>
              <a:t>Database Tiers</a:t>
            </a:r>
          </a:p>
          <a:p>
            <a:r>
              <a:rPr lang="en-US" dirty="0"/>
              <a:t>Conclusion and next Steps</a:t>
            </a:r>
          </a:p>
          <a:p>
            <a:pPr lvl="1"/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0913579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A7B67-73A5-4950-ADC1-081A053A07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in goals/requirements and featur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29A3C1-C411-40B6-8E1B-5AF46BC430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79303"/>
            <a:ext cx="10515600" cy="4846100"/>
          </a:xfrm>
        </p:spPr>
        <p:txBody>
          <a:bodyPr>
            <a:normAutofit lnSpcReduction="10000"/>
          </a:bodyPr>
          <a:lstStyle/>
          <a:p>
            <a:r>
              <a:rPr lang="en-US" sz="2400" dirty="0"/>
              <a:t>Optimal ingest and query performance</a:t>
            </a:r>
          </a:p>
          <a:p>
            <a:r>
              <a:rPr lang="en-US" sz="2400" dirty="0"/>
              <a:t>Minimal impact if database grows</a:t>
            </a:r>
          </a:p>
          <a:p>
            <a:r>
              <a:rPr lang="en-US" sz="2400" dirty="0"/>
              <a:t>Use PaaS services</a:t>
            </a:r>
            <a:br>
              <a:rPr lang="en-US" sz="2400" dirty="0"/>
            </a:br>
            <a:r>
              <a:rPr lang="en-US" sz="2400" dirty="0"/>
              <a:t>and functionality</a:t>
            </a:r>
            <a:br>
              <a:rPr lang="en-US" sz="2400" dirty="0"/>
            </a:br>
            <a:br>
              <a:rPr lang="en-US" sz="2400" dirty="0"/>
            </a:br>
            <a:br>
              <a:rPr lang="en-US" sz="2400" dirty="0"/>
            </a:br>
            <a:br>
              <a:rPr lang="en-US" sz="2400" dirty="0"/>
            </a:br>
            <a:br>
              <a:rPr lang="en-US" sz="2400" dirty="0"/>
            </a:br>
            <a:br>
              <a:rPr lang="en-US" sz="2400" dirty="0"/>
            </a:br>
            <a:br>
              <a:rPr lang="en-US" sz="2400" dirty="0"/>
            </a:br>
            <a:br>
              <a:rPr lang="en-US" sz="2400" dirty="0"/>
            </a:br>
            <a:endParaRPr lang="en-US" sz="2400" dirty="0"/>
          </a:p>
          <a:p>
            <a:r>
              <a:rPr lang="en-US" sz="2400" dirty="0"/>
              <a:t>Auto registration </a:t>
            </a:r>
            <a:br>
              <a:rPr lang="en-US" sz="2400" dirty="0"/>
            </a:br>
            <a:r>
              <a:rPr lang="en-US" sz="2400" dirty="0"/>
              <a:t>of new Devices/Signals</a:t>
            </a:r>
            <a:endParaRPr lang="en-CH" sz="2400" dirty="0"/>
          </a:p>
        </p:txBody>
      </p:sp>
      <p:pic>
        <p:nvPicPr>
          <p:cNvPr id="5" name="Picture 2" descr="Microsoft BI Tools: Azure Stream Analytics">
            <a:extLst>
              <a:ext uri="{FF2B5EF4-FFF2-40B4-BE49-F238E27FC236}">
                <a16:creationId xmlns:a16="http://schemas.microsoft.com/office/drawing/2014/main" id="{DCF5535F-263B-4DC5-A86C-1F4F6BB8C7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3585" y="3894929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AA705E7-3F55-47D0-A7D9-25BC1CA83B55}"/>
              </a:ext>
            </a:extLst>
          </p:cNvPr>
          <p:cNvSpPr txBox="1"/>
          <p:nvPr/>
        </p:nvSpPr>
        <p:spPr>
          <a:xfrm>
            <a:off x="4597271" y="4417423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pic>
        <p:nvPicPr>
          <p:cNvPr id="9" name="Picture 2" descr="Azure SQL Database with Elastic pools – Lee's Tech Blog">
            <a:extLst>
              <a:ext uri="{FF2B5EF4-FFF2-40B4-BE49-F238E27FC236}">
                <a16:creationId xmlns:a16="http://schemas.microsoft.com/office/drawing/2014/main" id="{4E33686F-517E-41BB-ABFF-963F9F8A6C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0251" y="3894929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FC8E05FA-2F89-4411-94BF-CF75E03A178C}"/>
              </a:ext>
            </a:extLst>
          </p:cNvPr>
          <p:cNvCxnSpPr>
            <a:cxnSpLocks/>
          </p:cNvCxnSpPr>
          <p:nvPr/>
        </p:nvCxnSpPr>
        <p:spPr>
          <a:xfrm>
            <a:off x="5365992" y="4128044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D9D2B24-A1EB-424D-BFF4-87B68C9CB903}"/>
              </a:ext>
            </a:extLst>
          </p:cNvPr>
          <p:cNvSpPr txBox="1"/>
          <p:nvPr/>
        </p:nvSpPr>
        <p:spPr>
          <a:xfrm>
            <a:off x="6011037" y="4417423"/>
            <a:ext cx="9604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Azure SQL </a:t>
            </a:r>
            <a:br>
              <a:rPr lang="en-US" sz="1400" dirty="0"/>
            </a:br>
            <a:r>
              <a:rPr lang="en-US" sz="1400" dirty="0"/>
              <a:t>Database</a:t>
            </a:r>
          </a:p>
        </p:txBody>
      </p:sp>
      <p:pic>
        <p:nvPicPr>
          <p:cNvPr id="15" name="Picture 2" descr="Azure SQL Database with Elastic pools – Lee's Tech Blog">
            <a:extLst>
              <a:ext uri="{FF2B5EF4-FFF2-40B4-BE49-F238E27FC236}">
                <a16:creationId xmlns:a16="http://schemas.microsoft.com/office/drawing/2014/main" id="{2049D06D-055F-4AF1-99E2-1714803A32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4682" y="5308855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0E03AA6-553B-49E2-BDA3-1921D28C172A}"/>
              </a:ext>
            </a:extLst>
          </p:cNvPr>
          <p:cNvSpPr txBox="1"/>
          <p:nvPr/>
        </p:nvSpPr>
        <p:spPr>
          <a:xfrm>
            <a:off x="4597271" y="5831349"/>
            <a:ext cx="9168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Reference</a:t>
            </a:r>
          </a:p>
          <a:p>
            <a:pPr algn="ctr"/>
            <a:r>
              <a:rPr lang="en-US" sz="1400" dirty="0"/>
              <a:t>Data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B8DD805-9601-4476-A2CE-2F18D362F103}"/>
              </a:ext>
            </a:extLst>
          </p:cNvPr>
          <p:cNvCxnSpPr>
            <a:cxnSpLocks/>
            <a:endCxn id="7" idx="2"/>
          </p:cNvCxnSpPr>
          <p:nvPr/>
        </p:nvCxnSpPr>
        <p:spPr>
          <a:xfrm flipV="1">
            <a:off x="5018669" y="4940643"/>
            <a:ext cx="0" cy="2997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" descr="Preise – IoT Hub | Microsoft Azure">
            <a:extLst>
              <a:ext uri="{FF2B5EF4-FFF2-40B4-BE49-F238E27FC236}">
                <a16:creationId xmlns:a16="http://schemas.microsoft.com/office/drawing/2014/main" id="{5027943F-1551-4976-9060-0C51D6B735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3032" y="3857312"/>
            <a:ext cx="1009444" cy="529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22A93C8D-3B61-40C4-BCB6-7EB9AE3340FD}"/>
              </a:ext>
            </a:extLst>
          </p:cNvPr>
          <p:cNvSpPr txBox="1"/>
          <p:nvPr/>
        </p:nvSpPr>
        <p:spPr>
          <a:xfrm>
            <a:off x="3122935" y="4417423"/>
            <a:ext cx="4860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IoT</a:t>
            </a:r>
            <a:br>
              <a:rPr lang="en-US" sz="1400" dirty="0"/>
            </a:br>
            <a:r>
              <a:rPr lang="en-US" sz="1400" dirty="0"/>
              <a:t>Hub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FB9C04D-109E-405C-B94C-451005A56A21}"/>
              </a:ext>
            </a:extLst>
          </p:cNvPr>
          <p:cNvCxnSpPr>
            <a:cxnSpLocks/>
          </p:cNvCxnSpPr>
          <p:nvPr/>
        </p:nvCxnSpPr>
        <p:spPr>
          <a:xfrm>
            <a:off x="3808230" y="4122291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allout: Bent Line 25">
            <a:extLst>
              <a:ext uri="{FF2B5EF4-FFF2-40B4-BE49-F238E27FC236}">
                <a16:creationId xmlns:a16="http://schemas.microsoft.com/office/drawing/2014/main" id="{17BEE9DA-70EA-42C7-955B-A8465710F222}"/>
              </a:ext>
            </a:extLst>
          </p:cNvPr>
          <p:cNvSpPr/>
          <p:nvPr/>
        </p:nvSpPr>
        <p:spPr>
          <a:xfrm>
            <a:off x="7966630" y="2137114"/>
            <a:ext cx="2198226" cy="89491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210882"/>
              <a:gd name="adj6" fmla="val -8487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 duplicate delivery of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28" name="Callout: Bent Line 27">
            <a:extLst>
              <a:ext uri="{FF2B5EF4-FFF2-40B4-BE49-F238E27FC236}">
                <a16:creationId xmlns:a16="http://schemas.microsoft.com/office/drawing/2014/main" id="{F6649FFB-5E51-4A94-B29A-A18CABED7DFD}"/>
              </a:ext>
            </a:extLst>
          </p:cNvPr>
          <p:cNvSpPr/>
          <p:nvPr/>
        </p:nvSpPr>
        <p:spPr>
          <a:xfrm>
            <a:off x="9397377" y="3236241"/>
            <a:ext cx="2391070" cy="1272266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56166"/>
              <a:gd name="adj6" fmla="val -1064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how data only allowed rows, company internal but also for third party users</a:t>
            </a:r>
            <a:endParaRPr lang="en-US" sz="1100" dirty="0"/>
          </a:p>
        </p:txBody>
      </p:sp>
      <p:sp>
        <p:nvSpPr>
          <p:cNvPr id="30" name="Callout: Bent Line 29">
            <a:extLst>
              <a:ext uri="{FF2B5EF4-FFF2-40B4-BE49-F238E27FC236}">
                <a16:creationId xmlns:a16="http://schemas.microsoft.com/office/drawing/2014/main" id="{84D4E801-3D55-4414-ACA4-6FE4F6E95945}"/>
              </a:ext>
            </a:extLst>
          </p:cNvPr>
          <p:cNvSpPr/>
          <p:nvPr/>
        </p:nvSpPr>
        <p:spPr>
          <a:xfrm>
            <a:off x="6069866" y="5279672"/>
            <a:ext cx="2285810" cy="1057944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8313"/>
              <a:gd name="adj6" fmla="val -3716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place signal name with internal  </a:t>
            </a:r>
            <a:br>
              <a:rPr lang="en-US" dirty="0"/>
            </a:br>
            <a:r>
              <a:rPr lang="en-US" dirty="0" err="1"/>
              <a:t>SignalId</a:t>
            </a:r>
            <a:endParaRPr lang="en-US" dirty="0"/>
          </a:p>
          <a:p>
            <a:pPr algn="ctr"/>
            <a:r>
              <a:rPr lang="en-US" sz="1100" dirty="0"/>
              <a:t>(Tuned for efficiency)</a:t>
            </a:r>
          </a:p>
        </p:txBody>
      </p:sp>
      <p:sp>
        <p:nvSpPr>
          <p:cNvPr id="32" name="Callout: Bent Line 31">
            <a:extLst>
              <a:ext uri="{FF2B5EF4-FFF2-40B4-BE49-F238E27FC236}">
                <a16:creationId xmlns:a16="http://schemas.microsoft.com/office/drawing/2014/main" id="{C66A6811-F26C-4E25-B93B-50E93B0D271A}"/>
              </a:ext>
            </a:extLst>
          </p:cNvPr>
          <p:cNvSpPr/>
          <p:nvPr/>
        </p:nvSpPr>
        <p:spPr>
          <a:xfrm>
            <a:off x="9397377" y="4703634"/>
            <a:ext cx="2391070" cy="1057944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40187"/>
              <a:gd name="adj6" fmla="val -10747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eep history of all security relevant meta data changes</a:t>
            </a:r>
            <a:endParaRPr lang="en-US" sz="1100" dirty="0"/>
          </a:p>
        </p:txBody>
      </p:sp>
      <p:sp>
        <p:nvSpPr>
          <p:cNvPr id="3" name="Callout: Bent Line 2">
            <a:extLst>
              <a:ext uri="{FF2B5EF4-FFF2-40B4-BE49-F238E27FC236}">
                <a16:creationId xmlns:a16="http://schemas.microsoft.com/office/drawing/2014/main" id="{C53C303B-6D19-466F-B639-9751B8CF69CE}"/>
              </a:ext>
            </a:extLst>
          </p:cNvPr>
          <p:cNvSpPr/>
          <p:nvPr/>
        </p:nvSpPr>
        <p:spPr>
          <a:xfrm>
            <a:off x="4830241" y="2672910"/>
            <a:ext cx="2198226" cy="79184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78668"/>
              <a:gd name="adj6" fmla="val -3800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al with </a:t>
            </a:r>
            <a:br>
              <a:rPr lang="en-US" dirty="0"/>
            </a:br>
            <a:r>
              <a:rPr lang="en-US" dirty="0"/>
              <a:t>mal formed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</p:spTree>
    <p:extLst>
      <p:ext uri="{BB962C8B-B14F-4D97-AF65-F5344CB8AC3E}">
        <p14:creationId xmlns:p14="http://schemas.microsoft.com/office/powerpoint/2010/main" val="1851895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28" grpId="0" animBg="1"/>
      <p:bldP spid="30" grpId="0" animBg="1"/>
      <p:bldP spid="32" grpId="0" animBg="1"/>
      <p:bldP spid="3" grpId="0" animBg="1"/>
    </p:bld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E8EE18-2ECD-49A1-BB33-92AA021DB7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itor </a:t>
            </a:r>
            <a:r>
              <a:rPr lang="en-US" dirty="0" err="1"/>
              <a:t>Activite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3BCD6D-59E9-437A-9794-31A8C67BB5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53407"/>
            <a:ext cx="10515600" cy="4351338"/>
          </a:xfrm>
        </p:spPr>
        <p:txBody>
          <a:bodyPr/>
          <a:lstStyle/>
          <a:p>
            <a:r>
              <a:rPr lang="en-US" dirty="0"/>
              <a:t>Important operations are logged in the two tables:</a:t>
            </a:r>
          </a:p>
          <a:p>
            <a:pPr lvl="1"/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Logging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r>
              <a:rPr lang="de-CH" sz="1800" dirty="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TaskLog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lvl="1"/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Logging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r>
              <a:rPr lang="de-CH" sz="1800" dirty="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tepLog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</a:p>
          <a:p>
            <a:pPr lvl="1"/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Combined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in View [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Logging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r>
              <a:rPr lang="de-CH" sz="1800" dirty="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LogInfo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b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CH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8EA1E1E-38A4-41BE-8A7A-17DF7A7D00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3199" y="3711951"/>
            <a:ext cx="10320413" cy="400053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2E6B389-0F1F-4179-A89A-FA2C8EB888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3199" y="4888828"/>
            <a:ext cx="6609032" cy="877793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DCACE65-BF0A-4E92-99E9-0AAAA1B5CB62}"/>
              </a:ext>
            </a:extLst>
          </p:cNvPr>
          <p:cNvSpPr txBox="1"/>
          <p:nvPr/>
        </p:nvSpPr>
        <p:spPr>
          <a:xfrm>
            <a:off x="993198" y="3284190"/>
            <a:ext cx="3431051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ging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skLog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CEA15ED-694D-4658-A487-1F818B57E6B2}"/>
              </a:ext>
            </a:extLst>
          </p:cNvPr>
          <p:cNvSpPr txBox="1"/>
          <p:nvPr/>
        </p:nvSpPr>
        <p:spPr>
          <a:xfrm>
            <a:off x="993197" y="4500881"/>
            <a:ext cx="3431051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ging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epLog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3615E30-9564-468B-B0EC-F20F78353C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62321" y="5447515"/>
            <a:ext cx="6985210" cy="1075550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894170962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43C2E1-562A-45D4-857F-321DDCA59B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et the database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DFF97F-8B52-49D9-81A4-7E22692D0B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85697" y="1825625"/>
            <a:ext cx="10788279" cy="4456262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sz="1800" dirty="0"/>
              <a:t>Data from the following tables 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ransfe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Stor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DuplicateKey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WrongMessageFormatOrDataTyp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zerInfo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ging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skLog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ging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epLog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 marL="0" indent="0">
              <a:buNone/>
            </a:pP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can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e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eleted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with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the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tored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procedure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r>
              <a:rPr lang="de-CH" sz="1700" b="1" dirty="0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[Partition].[</a:t>
            </a:r>
            <a:r>
              <a:rPr lang="de-CH" sz="1700" b="1" dirty="0" err="1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EmptyAllDataTablesYesImConfidentToDo</a:t>
            </a:r>
            <a:r>
              <a:rPr lang="de-CH" sz="1700" b="1" dirty="0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 marL="0" indent="0">
              <a:buNone/>
            </a:pP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The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two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equences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will also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e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reset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to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a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tart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value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of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1</a:t>
            </a:r>
          </a:p>
          <a:p>
            <a:r>
              <a:rPr lang="de-CH" sz="13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.[</a:t>
            </a:r>
            <a:r>
              <a:rPr lang="de-CH" sz="13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d</a:t>
            </a:r>
            <a:r>
              <a:rPr lang="de-CH" sz="13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</a:t>
            </a:r>
          </a:p>
          <a:p>
            <a:r>
              <a:rPr lang="de-CH" sz="13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3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ging</a:t>
            </a:r>
            <a:r>
              <a:rPr lang="de-CH" sz="13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3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Sequence</a:t>
            </a:r>
            <a:r>
              <a:rPr lang="de-CH" sz="13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br>
              <a:rPr lang="de-CH" sz="13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de-CH" sz="13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de-CH" sz="18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Restart Stream Analytics after a </a:t>
            </a:r>
            <a:r>
              <a:rPr lang="de-CH" sz="1800" dirty="0" err="1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reset</a:t>
            </a:r>
            <a:r>
              <a:rPr lang="de-CH" sz="18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, </a:t>
            </a:r>
            <a:r>
              <a:rPr lang="de-CH" sz="1800" dirty="0" err="1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to</a:t>
            </a:r>
            <a:r>
              <a:rPr lang="de-CH" sz="18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 update </a:t>
            </a:r>
            <a:r>
              <a:rPr lang="de-CH" sz="1800" dirty="0" err="1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cached</a:t>
            </a:r>
            <a:r>
              <a:rPr lang="de-CH" sz="18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meta</a:t>
            </a:r>
            <a:r>
              <a:rPr lang="de-CH" sz="18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data</a:t>
            </a:r>
            <a:r>
              <a:rPr lang="de-CH" sz="18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3918061467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A7B67-73A5-4950-ADC1-081A053A07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846" y="77456"/>
            <a:ext cx="10515600" cy="1325563"/>
          </a:xfrm>
        </p:spPr>
        <p:txBody>
          <a:bodyPr/>
          <a:lstStyle/>
          <a:p>
            <a:r>
              <a:rPr lang="en-US" dirty="0"/>
              <a:t>Data ingest and presentation</a:t>
            </a:r>
          </a:p>
        </p:txBody>
      </p:sp>
      <p:pic>
        <p:nvPicPr>
          <p:cNvPr id="5" name="Picture 2" descr="Microsoft BI Tools: Azure Stream Analytics">
            <a:extLst>
              <a:ext uri="{FF2B5EF4-FFF2-40B4-BE49-F238E27FC236}">
                <a16:creationId xmlns:a16="http://schemas.microsoft.com/office/drawing/2014/main" id="{DCF5535F-263B-4DC5-A86C-1F4F6BB8C7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5650" y="3476690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AA705E7-3F55-47D0-A7D9-25BC1CA83B55}"/>
              </a:ext>
            </a:extLst>
          </p:cNvPr>
          <p:cNvSpPr txBox="1"/>
          <p:nvPr/>
        </p:nvSpPr>
        <p:spPr>
          <a:xfrm>
            <a:off x="2359336" y="3999184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pic>
        <p:nvPicPr>
          <p:cNvPr id="9" name="Picture 2" descr="Azure SQL Database with Elastic pools – Lee's Tech Blog">
            <a:extLst>
              <a:ext uri="{FF2B5EF4-FFF2-40B4-BE49-F238E27FC236}">
                <a16:creationId xmlns:a16="http://schemas.microsoft.com/office/drawing/2014/main" id="{4E33686F-517E-41BB-ABFF-963F9F8A6C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4119" y="3476690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FC8E05FA-2F89-4411-94BF-CF75E03A178C}"/>
              </a:ext>
            </a:extLst>
          </p:cNvPr>
          <p:cNvCxnSpPr>
            <a:cxnSpLocks/>
          </p:cNvCxnSpPr>
          <p:nvPr/>
        </p:nvCxnSpPr>
        <p:spPr>
          <a:xfrm>
            <a:off x="3149860" y="3709805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D9D2B24-A1EB-424D-BFF4-87B68C9CB903}"/>
              </a:ext>
            </a:extLst>
          </p:cNvPr>
          <p:cNvSpPr txBox="1"/>
          <p:nvPr/>
        </p:nvSpPr>
        <p:spPr>
          <a:xfrm>
            <a:off x="3794905" y="3999184"/>
            <a:ext cx="9604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Azure SQL </a:t>
            </a:r>
            <a:br>
              <a:rPr lang="en-US" sz="1400" dirty="0"/>
            </a:br>
            <a:r>
              <a:rPr lang="en-US" sz="1400" dirty="0"/>
              <a:t>Database</a:t>
            </a:r>
          </a:p>
        </p:txBody>
      </p:sp>
      <p:pic>
        <p:nvPicPr>
          <p:cNvPr id="15" name="Picture 2" descr="Azure SQL Database with Elastic pools – Lee's Tech Blog">
            <a:extLst>
              <a:ext uri="{FF2B5EF4-FFF2-40B4-BE49-F238E27FC236}">
                <a16:creationId xmlns:a16="http://schemas.microsoft.com/office/drawing/2014/main" id="{2049D06D-055F-4AF1-99E2-1714803A32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8550" y="4890616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0E03AA6-553B-49E2-BDA3-1921D28C172A}"/>
              </a:ext>
            </a:extLst>
          </p:cNvPr>
          <p:cNvSpPr txBox="1"/>
          <p:nvPr/>
        </p:nvSpPr>
        <p:spPr>
          <a:xfrm>
            <a:off x="2381139" y="5413110"/>
            <a:ext cx="9168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Reference</a:t>
            </a:r>
          </a:p>
          <a:p>
            <a:pPr algn="ctr"/>
            <a:r>
              <a:rPr lang="en-US" sz="1400" dirty="0"/>
              <a:t>Data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B8DD805-9601-4476-A2CE-2F18D362F103}"/>
              </a:ext>
            </a:extLst>
          </p:cNvPr>
          <p:cNvCxnSpPr>
            <a:cxnSpLocks/>
            <a:endCxn id="7" idx="2"/>
          </p:cNvCxnSpPr>
          <p:nvPr/>
        </p:nvCxnSpPr>
        <p:spPr>
          <a:xfrm flipV="1">
            <a:off x="2780734" y="4522404"/>
            <a:ext cx="0" cy="2997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" descr="Preise – IoT Hub | Microsoft Azure">
            <a:extLst>
              <a:ext uri="{FF2B5EF4-FFF2-40B4-BE49-F238E27FC236}">
                <a16:creationId xmlns:a16="http://schemas.microsoft.com/office/drawing/2014/main" id="{5027943F-1551-4976-9060-0C51D6B735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097" y="3439073"/>
            <a:ext cx="1009444" cy="529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22A93C8D-3B61-40C4-BCB6-7EB9AE3340FD}"/>
              </a:ext>
            </a:extLst>
          </p:cNvPr>
          <p:cNvSpPr txBox="1"/>
          <p:nvPr/>
        </p:nvSpPr>
        <p:spPr>
          <a:xfrm>
            <a:off x="906803" y="3999184"/>
            <a:ext cx="4860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IoT</a:t>
            </a:r>
            <a:br>
              <a:rPr lang="en-US" sz="1400" dirty="0"/>
            </a:br>
            <a:r>
              <a:rPr lang="en-US" sz="1400" dirty="0"/>
              <a:t>Hub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FB9C04D-109E-405C-B94C-451005A56A21}"/>
              </a:ext>
            </a:extLst>
          </p:cNvPr>
          <p:cNvCxnSpPr>
            <a:cxnSpLocks/>
          </p:cNvCxnSpPr>
          <p:nvPr/>
        </p:nvCxnSpPr>
        <p:spPr>
          <a:xfrm>
            <a:off x="1570295" y="3704052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allout: Bent Line 25">
            <a:extLst>
              <a:ext uri="{FF2B5EF4-FFF2-40B4-BE49-F238E27FC236}">
                <a16:creationId xmlns:a16="http://schemas.microsoft.com/office/drawing/2014/main" id="{17BEE9DA-70EA-42C7-955B-A8465710F222}"/>
              </a:ext>
            </a:extLst>
          </p:cNvPr>
          <p:cNvSpPr/>
          <p:nvPr/>
        </p:nvSpPr>
        <p:spPr>
          <a:xfrm>
            <a:off x="5750498" y="1718875"/>
            <a:ext cx="2198226" cy="89491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210882"/>
              <a:gd name="adj6" fmla="val -8487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 duplicate delivery of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28" name="Callout: Bent Line 27">
            <a:extLst>
              <a:ext uri="{FF2B5EF4-FFF2-40B4-BE49-F238E27FC236}">
                <a16:creationId xmlns:a16="http://schemas.microsoft.com/office/drawing/2014/main" id="{F6649FFB-5E51-4A94-B29A-A18CABED7DFD}"/>
              </a:ext>
            </a:extLst>
          </p:cNvPr>
          <p:cNvSpPr/>
          <p:nvPr/>
        </p:nvSpPr>
        <p:spPr>
          <a:xfrm>
            <a:off x="7804504" y="2793402"/>
            <a:ext cx="2391070" cy="1272266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57778"/>
              <a:gd name="adj6" fmla="val -13099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how data only allowed rows, company internal but also for third party users</a:t>
            </a:r>
            <a:endParaRPr lang="en-US" sz="1100" dirty="0"/>
          </a:p>
        </p:txBody>
      </p:sp>
      <p:sp>
        <p:nvSpPr>
          <p:cNvPr id="30" name="Callout: Bent Line 29">
            <a:extLst>
              <a:ext uri="{FF2B5EF4-FFF2-40B4-BE49-F238E27FC236}">
                <a16:creationId xmlns:a16="http://schemas.microsoft.com/office/drawing/2014/main" id="{84D4E801-3D55-4414-ACA4-6FE4F6E95945}"/>
              </a:ext>
            </a:extLst>
          </p:cNvPr>
          <p:cNvSpPr/>
          <p:nvPr/>
        </p:nvSpPr>
        <p:spPr>
          <a:xfrm>
            <a:off x="3853734" y="4861433"/>
            <a:ext cx="2285810" cy="976875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8313"/>
              <a:gd name="adj6" fmla="val -3716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place signal name with internal  </a:t>
            </a:r>
            <a:br>
              <a:rPr lang="en-US" dirty="0"/>
            </a:br>
            <a:r>
              <a:rPr lang="en-US" dirty="0" err="1"/>
              <a:t>SignalId</a:t>
            </a:r>
            <a:endParaRPr lang="en-US" sz="1100" dirty="0"/>
          </a:p>
        </p:txBody>
      </p:sp>
      <p:sp>
        <p:nvSpPr>
          <p:cNvPr id="32" name="Callout: Bent Line 31">
            <a:extLst>
              <a:ext uri="{FF2B5EF4-FFF2-40B4-BE49-F238E27FC236}">
                <a16:creationId xmlns:a16="http://schemas.microsoft.com/office/drawing/2014/main" id="{C66A6811-F26C-4E25-B93B-50E93B0D271A}"/>
              </a:ext>
            </a:extLst>
          </p:cNvPr>
          <p:cNvSpPr/>
          <p:nvPr/>
        </p:nvSpPr>
        <p:spPr>
          <a:xfrm>
            <a:off x="7804504" y="4260795"/>
            <a:ext cx="2391070" cy="1057944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32823"/>
              <a:gd name="adj6" fmla="val -13027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eep history of all security relevant meta data changes</a:t>
            </a:r>
            <a:endParaRPr lang="en-US" sz="1100" dirty="0"/>
          </a:p>
        </p:txBody>
      </p:sp>
      <p:sp>
        <p:nvSpPr>
          <p:cNvPr id="34" name="Callout: Bent Line 33">
            <a:extLst>
              <a:ext uri="{FF2B5EF4-FFF2-40B4-BE49-F238E27FC236}">
                <a16:creationId xmlns:a16="http://schemas.microsoft.com/office/drawing/2014/main" id="{99C7B0F3-B069-48DE-A6D9-4A5AE9976D2E}"/>
              </a:ext>
            </a:extLst>
          </p:cNvPr>
          <p:cNvSpPr/>
          <p:nvPr/>
        </p:nvSpPr>
        <p:spPr>
          <a:xfrm>
            <a:off x="8813642" y="630882"/>
            <a:ext cx="2391071" cy="714047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35531"/>
              <a:gd name="adj6" fmla="val -71873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tead of Trigger </a:t>
            </a:r>
            <a:b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“API – View Layer”</a:t>
            </a:r>
          </a:p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~ 20 lines of T-SQL code</a:t>
            </a:r>
          </a:p>
        </p:txBody>
      </p:sp>
      <p:sp>
        <p:nvSpPr>
          <p:cNvPr id="36" name="Callout: Bent Line 35">
            <a:extLst>
              <a:ext uri="{FF2B5EF4-FFF2-40B4-BE49-F238E27FC236}">
                <a16:creationId xmlns:a16="http://schemas.microsoft.com/office/drawing/2014/main" id="{A84562D0-591D-450D-899B-029C3CE9675D}"/>
              </a:ext>
            </a:extLst>
          </p:cNvPr>
          <p:cNvSpPr/>
          <p:nvPr/>
        </p:nvSpPr>
        <p:spPr>
          <a:xfrm>
            <a:off x="9613506" y="1539262"/>
            <a:ext cx="2391071" cy="89491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28804"/>
              <a:gd name="adj6" fmla="val -30278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clarative Row Level Security</a:t>
            </a:r>
          </a:p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~ 20 lines of T-SQL code</a:t>
            </a:r>
          </a:p>
        </p:txBody>
      </p:sp>
      <p:sp>
        <p:nvSpPr>
          <p:cNvPr id="38" name="Callout: Bent Line 37">
            <a:extLst>
              <a:ext uri="{FF2B5EF4-FFF2-40B4-BE49-F238E27FC236}">
                <a16:creationId xmlns:a16="http://schemas.microsoft.com/office/drawing/2014/main" id="{40D88112-215E-46CC-A716-4EAAF67213B9}"/>
              </a:ext>
            </a:extLst>
          </p:cNvPr>
          <p:cNvSpPr/>
          <p:nvPr/>
        </p:nvSpPr>
        <p:spPr>
          <a:xfrm>
            <a:off x="9613505" y="5626975"/>
            <a:ext cx="2391071" cy="523220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43808"/>
              <a:gd name="adj6" fmla="val -31365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emporal Tables</a:t>
            </a:r>
          </a:p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 lines of T-SQL code</a:t>
            </a:r>
          </a:p>
        </p:txBody>
      </p:sp>
      <p:sp>
        <p:nvSpPr>
          <p:cNvPr id="40" name="Callout: Bent Line 39">
            <a:extLst>
              <a:ext uri="{FF2B5EF4-FFF2-40B4-BE49-F238E27FC236}">
                <a16:creationId xmlns:a16="http://schemas.microsoft.com/office/drawing/2014/main" id="{812AC35C-5134-4B33-BC40-C6E96DDF1604}"/>
              </a:ext>
            </a:extLst>
          </p:cNvPr>
          <p:cNvSpPr/>
          <p:nvPr/>
        </p:nvSpPr>
        <p:spPr>
          <a:xfrm>
            <a:off x="5933769" y="5987986"/>
            <a:ext cx="2547259" cy="740039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7129"/>
              <a:gd name="adj6" fmla="val -30303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ference Data in Stream Analytics</a:t>
            </a:r>
          </a:p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~ 5 lines of SQL code</a:t>
            </a:r>
          </a:p>
        </p:txBody>
      </p:sp>
      <p:sp>
        <p:nvSpPr>
          <p:cNvPr id="3" name="Callout: Bent Line 2">
            <a:extLst>
              <a:ext uri="{FF2B5EF4-FFF2-40B4-BE49-F238E27FC236}">
                <a16:creationId xmlns:a16="http://schemas.microsoft.com/office/drawing/2014/main" id="{C53C303B-6D19-466F-B639-9751B8CF69CE}"/>
              </a:ext>
            </a:extLst>
          </p:cNvPr>
          <p:cNvSpPr/>
          <p:nvPr/>
        </p:nvSpPr>
        <p:spPr>
          <a:xfrm>
            <a:off x="2614109" y="2254671"/>
            <a:ext cx="2198226" cy="79184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78668"/>
              <a:gd name="adj6" fmla="val -3800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al with </a:t>
            </a:r>
            <a:br>
              <a:rPr lang="en-US" dirty="0"/>
            </a:br>
            <a:r>
              <a:rPr lang="en-US" dirty="0"/>
              <a:t>mal-formed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24" name="Callout: Bent Line 23">
            <a:extLst>
              <a:ext uri="{FF2B5EF4-FFF2-40B4-BE49-F238E27FC236}">
                <a16:creationId xmlns:a16="http://schemas.microsoft.com/office/drawing/2014/main" id="{B2F3190A-4220-473A-B887-D18977D47A1A}"/>
              </a:ext>
            </a:extLst>
          </p:cNvPr>
          <p:cNvSpPr/>
          <p:nvPr/>
        </p:nvSpPr>
        <p:spPr>
          <a:xfrm>
            <a:off x="3579346" y="1395935"/>
            <a:ext cx="1801729" cy="714047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13719"/>
              <a:gd name="adj6" fmla="val -40363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tream Analytics</a:t>
            </a:r>
          </a:p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~ 20 lines of SQL code</a:t>
            </a:r>
          </a:p>
        </p:txBody>
      </p:sp>
    </p:spTree>
    <p:extLst>
      <p:ext uri="{BB962C8B-B14F-4D97-AF65-F5344CB8AC3E}">
        <p14:creationId xmlns:p14="http://schemas.microsoft.com/office/powerpoint/2010/main" val="20699339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6" grpId="0" animBg="1"/>
      <p:bldP spid="38" grpId="0" animBg="1"/>
      <p:bldP spid="40" grpId="0" animBg="1"/>
      <p:bldP spid="24" grpId="0" animBg="1"/>
    </p:bld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/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/>
              <a:t>Poor man’s digital twin </a:t>
            </a:r>
          </a:p>
          <a:p>
            <a:pPr lvl="1"/>
            <a:r>
              <a:rPr lang="en-US" dirty="0"/>
              <a:t>Restrict Data Access</a:t>
            </a:r>
          </a:p>
          <a:p>
            <a:pPr lvl="1"/>
            <a:r>
              <a:rPr lang="en-US" dirty="0"/>
              <a:t>Efficient Queries</a:t>
            </a:r>
          </a:p>
          <a:p>
            <a:pPr lvl="1"/>
            <a:r>
              <a:rPr lang="en-US" dirty="0"/>
              <a:t>Monitor activity/reset the database</a:t>
            </a:r>
          </a:p>
          <a:p>
            <a:r>
              <a:rPr lang="en-US" dirty="0">
                <a:highlight>
                  <a:srgbClr val="FFFF00"/>
                </a:highlight>
              </a:rPr>
              <a:t>Database Tiers</a:t>
            </a:r>
          </a:p>
          <a:p>
            <a:r>
              <a:rPr lang="en-US" dirty="0"/>
              <a:t>Conclusion and next Steps</a:t>
            </a:r>
          </a:p>
          <a:p>
            <a:pPr lvl="1"/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901565365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2DB1909B-FE2F-4CE8-8C04-B65275B7E2D6}"/>
              </a:ext>
            </a:extLst>
          </p:cNvPr>
          <p:cNvCxnSpPr>
            <a:cxnSpLocks/>
          </p:cNvCxnSpPr>
          <p:nvPr/>
        </p:nvCxnSpPr>
        <p:spPr>
          <a:xfrm>
            <a:off x="202019" y="5709684"/>
            <a:ext cx="11004697" cy="0"/>
          </a:xfrm>
          <a:prstGeom prst="straightConnector1">
            <a:avLst/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7947CC99-AB41-47C2-9306-49B851545C9D}"/>
              </a:ext>
            </a:extLst>
          </p:cNvPr>
          <p:cNvCxnSpPr>
            <a:cxnSpLocks/>
          </p:cNvCxnSpPr>
          <p:nvPr/>
        </p:nvCxnSpPr>
        <p:spPr>
          <a:xfrm flipV="1">
            <a:off x="1754549" y="1350334"/>
            <a:ext cx="0" cy="4359350"/>
          </a:xfrm>
          <a:prstGeom prst="straightConnector1">
            <a:avLst/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D4B9E580-4F86-404D-9F6C-B246E69B08A3}"/>
              </a:ext>
            </a:extLst>
          </p:cNvPr>
          <p:cNvSpPr txBox="1"/>
          <p:nvPr/>
        </p:nvSpPr>
        <p:spPr>
          <a:xfrm rot="16200000">
            <a:off x="-12672" y="1752335"/>
            <a:ext cx="111177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on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52A10A6-4297-4EF2-95BF-CBCB43E797DF}"/>
              </a:ext>
            </a:extLst>
          </p:cNvPr>
          <p:cNvSpPr txBox="1"/>
          <p:nvPr/>
        </p:nvSpPr>
        <p:spPr>
          <a:xfrm rot="16200000">
            <a:off x="-12671" y="4040372"/>
            <a:ext cx="1111779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on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7495FBC-CAC6-4EE8-928F-8C6D6DFB8ACB}"/>
              </a:ext>
            </a:extLst>
          </p:cNvPr>
          <p:cNvSpPr txBox="1"/>
          <p:nvPr/>
        </p:nvSpPr>
        <p:spPr>
          <a:xfrm>
            <a:off x="2948763" y="5979042"/>
            <a:ext cx="1259576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me GB </a:t>
            </a:r>
            <a:b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a few TB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122B87C-81CE-42A2-BFDC-CCD58E22AE6A}"/>
              </a:ext>
            </a:extLst>
          </p:cNvPr>
          <p:cNvSpPr txBox="1"/>
          <p:nvPr/>
        </p:nvSpPr>
        <p:spPr>
          <a:xfrm>
            <a:off x="10065489" y="5979041"/>
            <a:ext cx="1283621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y T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some PB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2F953DA-64DF-4718-B6E9-D7DAB209DD06}"/>
              </a:ext>
            </a:extLst>
          </p:cNvPr>
          <p:cNvSpPr txBox="1"/>
          <p:nvPr/>
        </p:nvSpPr>
        <p:spPr>
          <a:xfrm rot="16200000">
            <a:off x="1155556" y="4997012"/>
            <a:ext cx="49372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l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C9C4558-20A2-4016-B8D3-D1D85C5DEEEB}"/>
              </a:ext>
            </a:extLst>
          </p:cNvPr>
          <p:cNvSpPr txBox="1"/>
          <p:nvPr/>
        </p:nvSpPr>
        <p:spPr>
          <a:xfrm rot="16200000">
            <a:off x="533932" y="3318273"/>
            <a:ext cx="1606210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y-Value,</a:t>
            </a:r>
            <a:b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cuments, …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3E3924AC-50CF-4F3E-988F-22E909B2F317}"/>
              </a:ext>
            </a:extLst>
          </p:cNvPr>
          <p:cNvCxnSpPr/>
          <p:nvPr/>
        </p:nvCxnSpPr>
        <p:spPr>
          <a:xfrm>
            <a:off x="202019" y="2785731"/>
            <a:ext cx="11147091" cy="0"/>
          </a:xfrm>
          <a:prstGeom prst="line">
            <a:avLst/>
          </a:prstGeom>
          <a:ln>
            <a:solidFill>
              <a:schemeClr val="tx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513203D-E4F6-4D70-8714-75CB54EC74BF}"/>
              </a:ext>
            </a:extLst>
          </p:cNvPr>
          <p:cNvCxnSpPr>
            <a:cxnSpLocks/>
          </p:cNvCxnSpPr>
          <p:nvPr/>
        </p:nvCxnSpPr>
        <p:spPr>
          <a:xfrm>
            <a:off x="1236370" y="4447949"/>
            <a:ext cx="9895918" cy="0"/>
          </a:xfrm>
          <a:prstGeom prst="line">
            <a:avLst/>
          </a:prstGeom>
          <a:ln>
            <a:solidFill>
              <a:schemeClr val="tx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5" name="Group 44">
            <a:extLst>
              <a:ext uri="{FF2B5EF4-FFF2-40B4-BE49-F238E27FC236}">
                <a16:creationId xmlns:a16="http://schemas.microsoft.com/office/drawing/2014/main" id="{E5A3934F-C1E5-4282-8D19-C5ED44AB3301}"/>
              </a:ext>
            </a:extLst>
          </p:cNvPr>
          <p:cNvGrpSpPr/>
          <p:nvPr/>
        </p:nvGrpSpPr>
        <p:grpSpPr>
          <a:xfrm>
            <a:off x="4688610" y="1740639"/>
            <a:ext cx="462710" cy="456399"/>
            <a:chOff x="1244746" y="1734245"/>
            <a:chExt cx="648280" cy="497011"/>
          </a:xfrm>
        </p:grpSpPr>
        <p:sp>
          <p:nvSpPr>
            <p:cNvPr id="46" name="Freeform 106">
              <a:extLst>
                <a:ext uri="{FF2B5EF4-FFF2-40B4-BE49-F238E27FC236}">
                  <a16:creationId xmlns:a16="http://schemas.microsoft.com/office/drawing/2014/main" id="{81AAA64A-03AA-4D65-8CEE-944D5C41BD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4746" y="1734245"/>
              <a:ext cx="448648" cy="432654"/>
            </a:xfrm>
            <a:custGeom>
              <a:avLst/>
              <a:gdLst>
                <a:gd name="T0" fmla="*/ 35 w 70"/>
                <a:gd name="T1" fmla="*/ 4 h 82"/>
                <a:gd name="T2" fmla="*/ 64 w 70"/>
                <a:gd name="T3" fmla="*/ 12 h 82"/>
                <a:gd name="T4" fmla="*/ 35 w 70"/>
                <a:gd name="T5" fmla="*/ 20 h 82"/>
                <a:gd name="T6" fmla="*/ 6 w 70"/>
                <a:gd name="T7" fmla="*/ 12 h 82"/>
                <a:gd name="T8" fmla="*/ 35 w 70"/>
                <a:gd name="T9" fmla="*/ 4 h 82"/>
                <a:gd name="T10" fmla="*/ 35 w 70"/>
                <a:gd name="T11" fmla="*/ 0 h 82"/>
                <a:gd name="T12" fmla="*/ 21 w 70"/>
                <a:gd name="T13" fmla="*/ 1 h 82"/>
                <a:gd name="T14" fmla="*/ 10 w 70"/>
                <a:gd name="T15" fmla="*/ 4 h 82"/>
                <a:gd name="T16" fmla="*/ 3 w 70"/>
                <a:gd name="T17" fmla="*/ 8 h 82"/>
                <a:gd name="T18" fmla="*/ 1 w 70"/>
                <a:gd name="T19" fmla="*/ 11 h 82"/>
                <a:gd name="T20" fmla="*/ 0 w 70"/>
                <a:gd name="T21" fmla="*/ 14 h 82"/>
                <a:gd name="T22" fmla="*/ 0 w 70"/>
                <a:gd name="T23" fmla="*/ 69 h 82"/>
                <a:gd name="T24" fmla="*/ 1 w 70"/>
                <a:gd name="T25" fmla="*/ 71 h 82"/>
                <a:gd name="T26" fmla="*/ 3 w 70"/>
                <a:gd name="T27" fmla="*/ 74 h 82"/>
                <a:gd name="T28" fmla="*/ 10 w 70"/>
                <a:gd name="T29" fmla="*/ 78 h 82"/>
                <a:gd name="T30" fmla="*/ 21 w 70"/>
                <a:gd name="T31" fmla="*/ 81 h 82"/>
                <a:gd name="T32" fmla="*/ 35 w 70"/>
                <a:gd name="T33" fmla="*/ 82 h 82"/>
                <a:gd name="T34" fmla="*/ 60 w 70"/>
                <a:gd name="T35" fmla="*/ 78 h 82"/>
                <a:gd name="T36" fmla="*/ 67 w 70"/>
                <a:gd name="T37" fmla="*/ 74 h 82"/>
                <a:gd name="T38" fmla="*/ 69 w 70"/>
                <a:gd name="T39" fmla="*/ 71 h 82"/>
                <a:gd name="T40" fmla="*/ 70 w 70"/>
                <a:gd name="T41" fmla="*/ 69 h 82"/>
                <a:gd name="T42" fmla="*/ 70 w 70"/>
                <a:gd name="T43" fmla="*/ 14 h 82"/>
                <a:gd name="T44" fmla="*/ 67 w 70"/>
                <a:gd name="T45" fmla="*/ 8 h 82"/>
                <a:gd name="T46" fmla="*/ 60 w 70"/>
                <a:gd name="T47" fmla="*/ 4 h 82"/>
                <a:gd name="T48" fmla="*/ 49 w 70"/>
                <a:gd name="T49" fmla="*/ 1 h 82"/>
                <a:gd name="T50" fmla="*/ 35 w 70"/>
                <a:gd name="T51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0" h="82">
                  <a:moveTo>
                    <a:pt x="35" y="4"/>
                  </a:moveTo>
                  <a:cubicBezTo>
                    <a:pt x="51" y="4"/>
                    <a:pt x="64" y="8"/>
                    <a:pt x="64" y="12"/>
                  </a:cubicBezTo>
                  <a:cubicBezTo>
                    <a:pt x="64" y="17"/>
                    <a:pt x="51" y="20"/>
                    <a:pt x="35" y="20"/>
                  </a:cubicBezTo>
                  <a:cubicBezTo>
                    <a:pt x="19" y="20"/>
                    <a:pt x="6" y="17"/>
                    <a:pt x="6" y="12"/>
                  </a:cubicBezTo>
                  <a:cubicBezTo>
                    <a:pt x="6" y="8"/>
                    <a:pt x="19" y="4"/>
                    <a:pt x="35" y="4"/>
                  </a:cubicBezTo>
                  <a:close/>
                  <a:moveTo>
                    <a:pt x="35" y="0"/>
                  </a:moveTo>
                  <a:cubicBezTo>
                    <a:pt x="21" y="1"/>
                    <a:pt x="21" y="1"/>
                    <a:pt x="21" y="1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3" y="74"/>
                    <a:pt x="3" y="74"/>
                    <a:pt x="3" y="74"/>
                  </a:cubicBezTo>
                  <a:cubicBezTo>
                    <a:pt x="10" y="78"/>
                    <a:pt x="10" y="78"/>
                    <a:pt x="10" y="78"/>
                  </a:cubicBezTo>
                  <a:cubicBezTo>
                    <a:pt x="21" y="81"/>
                    <a:pt x="21" y="81"/>
                    <a:pt x="21" y="81"/>
                  </a:cubicBezTo>
                  <a:cubicBezTo>
                    <a:pt x="26" y="82"/>
                    <a:pt x="30" y="82"/>
                    <a:pt x="35" y="82"/>
                  </a:cubicBezTo>
                  <a:cubicBezTo>
                    <a:pt x="45" y="82"/>
                    <a:pt x="53" y="81"/>
                    <a:pt x="60" y="78"/>
                  </a:cubicBezTo>
                  <a:cubicBezTo>
                    <a:pt x="63" y="77"/>
                    <a:pt x="66" y="76"/>
                    <a:pt x="67" y="74"/>
                  </a:cubicBezTo>
                  <a:cubicBezTo>
                    <a:pt x="68" y="73"/>
                    <a:pt x="69" y="72"/>
                    <a:pt x="69" y="71"/>
                  </a:cubicBezTo>
                  <a:cubicBezTo>
                    <a:pt x="70" y="71"/>
                    <a:pt x="70" y="70"/>
                    <a:pt x="70" y="69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70" y="12"/>
                    <a:pt x="69" y="10"/>
                    <a:pt x="67" y="8"/>
                  </a:cubicBezTo>
                  <a:cubicBezTo>
                    <a:pt x="66" y="7"/>
                    <a:pt x="63" y="5"/>
                    <a:pt x="60" y="4"/>
                  </a:cubicBezTo>
                  <a:cubicBezTo>
                    <a:pt x="57" y="3"/>
                    <a:pt x="53" y="2"/>
                    <a:pt x="49" y="1"/>
                  </a:cubicBezTo>
                  <a:cubicBezTo>
                    <a:pt x="45" y="0"/>
                    <a:pt x="40" y="0"/>
                    <a:pt x="3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0" tIns="18288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QL</a:t>
              </a:r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72BB9CE1-4F48-4267-9C03-8D9BBE7166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7399" y="2051791"/>
              <a:ext cx="375627" cy="179465"/>
            </a:xfrm>
            <a:custGeom>
              <a:avLst/>
              <a:gdLst>
                <a:gd name="T0" fmla="*/ 203 w 242"/>
                <a:gd name="T1" fmla="*/ 70 h 160"/>
                <a:gd name="T2" fmla="*/ 203 w 242"/>
                <a:gd name="T3" fmla="*/ 67 h 160"/>
                <a:gd name="T4" fmla="*/ 136 w 242"/>
                <a:gd name="T5" fmla="*/ 0 h 160"/>
                <a:gd name="T6" fmla="*/ 81 w 242"/>
                <a:gd name="T7" fmla="*/ 30 h 160"/>
                <a:gd name="T8" fmla="*/ 62 w 242"/>
                <a:gd name="T9" fmla="*/ 25 h 160"/>
                <a:gd name="T10" fmla="*/ 24 w 242"/>
                <a:gd name="T11" fmla="*/ 63 h 160"/>
                <a:gd name="T12" fmla="*/ 0 w 242"/>
                <a:gd name="T13" fmla="*/ 107 h 160"/>
                <a:gd name="T14" fmla="*/ 46 w 242"/>
                <a:gd name="T15" fmla="*/ 160 h 160"/>
                <a:gd name="T16" fmla="*/ 52 w 242"/>
                <a:gd name="T17" fmla="*/ 160 h 160"/>
                <a:gd name="T18" fmla="*/ 57 w 242"/>
                <a:gd name="T19" fmla="*/ 160 h 160"/>
                <a:gd name="T20" fmla="*/ 166 w 242"/>
                <a:gd name="T21" fmla="*/ 160 h 160"/>
                <a:gd name="T22" fmla="*/ 171 w 242"/>
                <a:gd name="T23" fmla="*/ 160 h 160"/>
                <a:gd name="T24" fmla="*/ 179 w 242"/>
                <a:gd name="T25" fmla="*/ 160 h 160"/>
                <a:gd name="T26" fmla="*/ 197 w 242"/>
                <a:gd name="T27" fmla="*/ 160 h 160"/>
                <a:gd name="T28" fmla="*/ 242 w 242"/>
                <a:gd name="T29" fmla="*/ 115 h 160"/>
                <a:gd name="T30" fmla="*/ 203 w 242"/>
                <a:gd name="T31" fmla="*/ 7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2" h="160">
                  <a:moveTo>
                    <a:pt x="203" y="70"/>
                  </a:moveTo>
                  <a:cubicBezTo>
                    <a:pt x="203" y="69"/>
                    <a:pt x="203" y="68"/>
                    <a:pt x="203" y="67"/>
                  </a:cubicBezTo>
                  <a:cubicBezTo>
                    <a:pt x="203" y="30"/>
                    <a:pt x="173" y="0"/>
                    <a:pt x="136" y="0"/>
                  </a:cubicBezTo>
                  <a:cubicBezTo>
                    <a:pt x="113" y="0"/>
                    <a:pt x="93" y="12"/>
                    <a:pt x="81" y="30"/>
                  </a:cubicBezTo>
                  <a:cubicBezTo>
                    <a:pt x="75" y="27"/>
                    <a:pt x="69" y="25"/>
                    <a:pt x="62" y="25"/>
                  </a:cubicBezTo>
                  <a:cubicBezTo>
                    <a:pt x="41" y="25"/>
                    <a:pt x="24" y="42"/>
                    <a:pt x="24" y="63"/>
                  </a:cubicBezTo>
                  <a:cubicBezTo>
                    <a:pt x="9" y="73"/>
                    <a:pt x="0" y="89"/>
                    <a:pt x="0" y="107"/>
                  </a:cubicBezTo>
                  <a:cubicBezTo>
                    <a:pt x="0" y="135"/>
                    <a:pt x="20" y="157"/>
                    <a:pt x="46" y="160"/>
                  </a:cubicBezTo>
                  <a:cubicBezTo>
                    <a:pt x="48" y="160"/>
                    <a:pt x="50" y="160"/>
                    <a:pt x="52" y="160"/>
                  </a:cubicBezTo>
                  <a:cubicBezTo>
                    <a:pt x="54" y="160"/>
                    <a:pt x="56" y="160"/>
                    <a:pt x="57" y="160"/>
                  </a:cubicBezTo>
                  <a:cubicBezTo>
                    <a:pt x="82" y="160"/>
                    <a:pt x="139" y="160"/>
                    <a:pt x="166" y="160"/>
                  </a:cubicBezTo>
                  <a:cubicBezTo>
                    <a:pt x="171" y="160"/>
                    <a:pt x="171" y="160"/>
                    <a:pt x="171" y="160"/>
                  </a:cubicBezTo>
                  <a:cubicBezTo>
                    <a:pt x="173" y="160"/>
                    <a:pt x="177" y="160"/>
                    <a:pt x="179" y="160"/>
                  </a:cubicBezTo>
                  <a:cubicBezTo>
                    <a:pt x="197" y="160"/>
                    <a:pt x="197" y="160"/>
                    <a:pt x="197" y="160"/>
                  </a:cubicBezTo>
                  <a:cubicBezTo>
                    <a:pt x="222" y="160"/>
                    <a:pt x="242" y="139"/>
                    <a:pt x="242" y="115"/>
                  </a:cubicBezTo>
                  <a:cubicBezTo>
                    <a:pt x="242" y="92"/>
                    <a:pt x="225" y="73"/>
                    <a:pt x="203" y="70"/>
                  </a:cubicBezTo>
                </a:path>
              </a:pathLst>
            </a:custGeom>
            <a:solidFill>
              <a:schemeClr val="bg1"/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1" name="Rectangle 50">
            <a:extLst>
              <a:ext uri="{FF2B5EF4-FFF2-40B4-BE49-F238E27FC236}">
                <a16:creationId xmlns:a16="http://schemas.microsoft.com/office/drawing/2014/main" id="{C1546615-0C80-4106-854F-849CD46A152A}"/>
              </a:ext>
            </a:extLst>
          </p:cNvPr>
          <p:cNvSpPr/>
          <p:nvPr/>
        </p:nvSpPr>
        <p:spPr>
          <a:xfrm>
            <a:off x="1751618" y="2276820"/>
            <a:ext cx="62709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MySQL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2D252722-9484-4692-BB2B-54DF6BDE04F0}"/>
              </a:ext>
            </a:extLst>
          </p:cNvPr>
          <p:cNvSpPr/>
          <p:nvPr/>
        </p:nvSpPr>
        <p:spPr>
          <a:xfrm>
            <a:off x="2395719" y="2276820"/>
            <a:ext cx="90762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PostgreSQL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0BF9471C-5EA9-442E-BED3-C11C8146456C}"/>
              </a:ext>
            </a:extLst>
          </p:cNvPr>
          <p:cNvSpPr/>
          <p:nvPr/>
        </p:nvSpPr>
        <p:spPr>
          <a:xfrm>
            <a:off x="3313721" y="2276820"/>
            <a:ext cx="71846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MariaDB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C51E4877-18C1-4003-BCFE-DC97F2DB47E0}"/>
              </a:ext>
            </a:extLst>
          </p:cNvPr>
          <p:cNvGrpSpPr/>
          <p:nvPr/>
        </p:nvGrpSpPr>
        <p:grpSpPr>
          <a:xfrm>
            <a:off x="1952791" y="1740639"/>
            <a:ext cx="301572" cy="396193"/>
            <a:chOff x="1963648" y="1894714"/>
            <a:chExt cx="301572" cy="396193"/>
          </a:xfrm>
        </p:grpSpPr>
        <p:sp>
          <p:nvSpPr>
            <p:cNvPr id="21" name="Cylinder 513">
              <a:extLst>
                <a:ext uri="{FF2B5EF4-FFF2-40B4-BE49-F238E27FC236}">
                  <a16:creationId xmlns:a16="http://schemas.microsoft.com/office/drawing/2014/main" id="{90B94EF2-C976-41C8-B9FE-560824C0511A}"/>
                </a:ext>
              </a:extLst>
            </p:cNvPr>
            <p:cNvSpPr/>
            <p:nvPr/>
          </p:nvSpPr>
          <p:spPr bwMode="auto">
            <a:xfrm>
              <a:off x="1963648" y="1894714"/>
              <a:ext cx="301572" cy="396193"/>
            </a:xfrm>
            <a:prstGeom prst="can">
              <a:avLst>
                <a:gd name="adj" fmla="val 39530"/>
              </a:avLst>
            </a:prstGeom>
            <a:solidFill>
              <a:schemeClr val="bg1"/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263" rIns="0" bIns="14626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11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BFDFD2DA-8E0F-4B67-8D07-E856AFB11C1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77483" y="2041132"/>
              <a:ext cx="279969" cy="145584"/>
            </a:xfrm>
            <a:prstGeom prst="rect">
              <a:avLst/>
            </a:prstGeom>
          </p:spPr>
        </p:pic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D1EFBC44-D13B-457C-8C5C-7915D80D4632}"/>
              </a:ext>
            </a:extLst>
          </p:cNvPr>
          <p:cNvGrpSpPr/>
          <p:nvPr/>
        </p:nvGrpSpPr>
        <p:grpSpPr>
          <a:xfrm>
            <a:off x="2696779" y="1740639"/>
            <a:ext cx="301572" cy="396193"/>
            <a:chOff x="2819784" y="1894714"/>
            <a:chExt cx="301572" cy="396193"/>
          </a:xfrm>
        </p:grpSpPr>
        <p:sp>
          <p:nvSpPr>
            <p:cNvPr id="22" name="Cylinder 513">
              <a:extLst>
                <a:ext uri="{FF2B5EF4-FFF2-40B4-BE49-F238E27FC236}">
                  <a16:creationId xmlns:a16="http://schemas.microsoft.com/office/drawing/2014/main" id="{E954D5C7-DF43-479F-826D-55CE62F48ED6}"/>
                </a:ext>
              </a:extLst>
            </p:cNvPr>
            <p:cNvSpPr/>
            <p:nvPr/>
          </p:nvSpPr>
          <p:spPr bwMode="auto">
            <a:xfrm>
              <a:off x="2819784" y="1894714"/>
              <a:ext cx="301572" cy="396193"/>
            </a:xfrm>
            <a:prstGeom prst="can">
              <a:avLst>
                <a:gd name="adj" fmla="val 39530"/>
              </a:avLst>
            </a:prstGeom>
            <a:solidFill>
              <a:schemeClr val="bg1"/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263" rIns="0" bIns="14626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11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6" name="Picture 55">
              <a:extLst>
                <a:ext uri="{FF2B5EF4-FFF2-40B4-BE49-F238E27FC236}">
                  <a16:creationId xmlns:a16="http://schemas.microsoft.com/office/drawing/2014/main" id="{10DCE7A6-EA2A-47CB-A3F5-A1AA0D77E6A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853384" y="1996512"/>
              <a:ext cx="252113" cy="280308"/>
            </a:xfrm>
            <a:prstGeom prst="rect">
              <a:avLst/>
            </a:prstGeom>
          </p:spPr>
        </p:pic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68BFD6F6-491B-4510-81AC-7B6A4341C6DC}"/>
              </a:ext>
            </a:extLst>
          </p:cNvPr>
          <p:cNvGrpSpPr/>
          <p:nvPr/>
        </p:nvGrpSpPr>
        <p:grpSpPr>
          <a:xfrm>
            <a:off x="3440767" y="1740639"/>
            <a:ext cx="377633" cy="396193"/>
            <a:chOff x="3451624" y="1894714"/>
            <a:chExt cx="377633" cy="396193"/>
          </a:xfrm>
        </p:grpSpPr>
        <p:sp>
          <p:nvSpPr>
            <p:cNvPr id="26" name="Cylinder 513">
              <a:extLst>
                <a:ext uri="{FF2B5EF4-FFF2-40B4-BE49-F238E27FC236}">
                  <a16:creationId xmlns:a16="http://schemas.microsoft.com/office/drawing/2014/main" id="{6DFB2212-8272-46A1-8876-E4B472BB7C22}"/>
                </a:ext>
              </a:extLst>
            </p:cNvPr>
            <p:cNvSpPr/>
            <p:nvPr/>
          </p:nvSpPr>
          <p:spPr bwMode="auto">
            <a:xfrm>
              <a:off x="3488500" y="1894714"/>
              <a:ext cx="301572" cy="396193"/>
            </a:xfrm>
            <a:prstGeom prst="can">
              <a:avLst>
                <a:gd name="adj" fmla="val 39530"/>
              </a:avLst>
            </a:prstGeom>
            <a:solidFill>
              <a:schemeClr val="bg1"/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263" rIns="0" bIns="14626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11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259C7027-F3C9-429C-AD25-DA8FC87ABF1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51624" y="2039481"/>
              <a:ext cx="377633" cy="194370"/>
            </a:xfrm>
            <a:prstGeom prst="rect">
              <a:avLst/>
            </a:prstGeom>
          </p:spPr>
        </p:pic>
      </p:grpSp>
      <p:pic>
        <p:nvPicPr>
          <p:cNvPr id="60" name="Picture 59">
            <a:extLst>
              <a:ext uri="{FF2B5EF4-FFF2-40B4-BE49-F238E27FC236}">
                <a16:creationId xmlns:a16="http://schemas.microsoft.com/office/drawing/2014/main" id="{81E37084-E326-4387-83AE-C7A1B634A50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08987" y="1740639"/>
            <a:ext cx="589000" cy="589000"/>
          </a:xfrm>
          <a:prstGeom prst="rect">
            <a:avLst/>
          </a:prstGeom>
          <a:ln>
            <a:noFill/>
          </a:ln>
        </p:spPr>
      </p:pic>
      <p:sp>
        <p:nvSpPr>
          <p:cNvPr id="61" name="Rectangle 60">
            <a:extLst>
              <a:ext uri="{FF2B5EF4-FFF2-40B4-BE49-F238E27FC236}">
                <a16:creationId xmlns:a16="http://schemas.microsoft.com/office/drawing/2014/main" id="{3D4EE91A-EEB9-4B7D-86D5-87335BD8EB3A}"/>
              </a:ext>
            </a:extLst>
          </p:cNvPr>
          <p:cNvSpPr/>
          <p:nvPr/>
        </p:nvSpPr>
        <p:spPr>
          <a:xfrm>
            <a:off x="4140165" y="2276820"/>
            <a:ext cx="144783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SQL Server in Azure 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CCA6D832-E562-4A4A-93A6-E63E2FBABD86}"/>
              </a:ext>
            </a:extLst>
          </p:cNvPr>
          <p:cNvSpPr/>
          <p:nvPr/>
        </p:nvSpPr>
        <p:spPr>
          <a:xfrm>
            <a:off x="8510624" y="2276820"/>
            <a:ext cx="1901483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Azure SQL Data Warehouse</a:t>
            </a: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D5346E74-5F5E-463A-895C-23FB4764BD80}"/>
              </a:ext>
            </a:extLst>
          </p:cNvPr>
          <p:cNvGrpSpPr/>
          <p:nvPr/>
        </p:nvGrpSpPr>
        <p:grpSpPr>
          <a:xfrm>
            <a:off x="6767178" y="3186215"/>
            <a:ext cx="848978" cy="691802"/>
            <a:chOff x="3981450" y="1792288"/>
            <a:chExt cx="4229100" cy="3314701"/>
          </a:xfrm>
          <a:solidFill>
            <a:schemeClr val="bg2">
              <a:lumMod val="50000"/>
            </a:schemeClr>
          </a:solidFill>
        </p:grpSpPr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8E07F4BF-B2D0-4891-920C-6689715D32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16838" y="4572001"/>
              <a:ext cx="490538" cy="487363"/>
            </a:xfrm>
            <a:prstGeom prst="ellipse">
              <a:avLst/>
            </a:prstGeom>
            <a:grpFill/>
            <a:ln w="9525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5117" tIns="47558" rIns="95117" bIns="4755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A03035BD-AF18-4658-858A-7281955164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48475" y="1792288"/>
              <a:ext cx="715963" cy="715963"/>
            </a:xfrm>
            <a:prstGeom prst="ellipse">
              <a:avLst/>
            </a:prstGeom>
            <a:grpFill/>
            <a:ln w="9525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5117" tIns="47558" rIns="95117" bIns="4755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reeform 12">
              <a:extLst>
                <a:ext uri="{FF2B5EF4-FFF2-40B4-BE49-F238E27FC236}">
                  <a16:creationId xmlns:a16="http://schemas.microsoft.com/office/drawing/2014/main" id="{FC764890-0C79-45F4-B7C6-C508FEBECC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1150" y="2840038"/>
              <a:ext cx="4089400" cy="1920875"/>
            </a:xfrm>
            <a:custGeom>
              <a:avLst/>
              <a:gdLst>
                <a:gd name="T0" fmla="*/ 1280 w 1285"/>
                <a:gd name="T1" fmla="*/ 169 h 603"/>
                <a:gd name="T2" fmla="*/ 1283 w 1285"/>
                <a:gd name="T3" fmla="*/ 157 h 603"/>
                <a:gd name="T4" fmla="*/ 1285 w 1285"/>
                <a:gd name="T5" fmla="*/ 145 h 603"/>
                <a:gd name="T6" fmla="*/ 1285 w 1285"/>
                <a:gd name="T7" fmla="*/ 133 h 603"/>
                <a:gd name="T8" fmla="*/ 1284 w 1285"/>
                <a:gd name="T9" fmla="*/ 121 h 603"/>
                <a:gd name="T10" fmla="*/ 1282 w 1285"/>
                <a:gd name="T11" fmla="*/ 108 h 603"/>
                <a:gd name="T12" fmla="*/ 1281 w 1285"/>
                <a:gd name="T13" fmla="*/ 106 h 603"/>
                <a:gd name="T14" fmla="*/ 1281 w 1285"/>
                <a:gd name="T15" fmla="*/ 106 h 603"/>
                <a:gd name="T16" fmla="*/ 970 w 1285"/>
                <a:gd name="T17" fmla="*/ 6 h 603"/>
                <a:gd name="T18" fmla="*/ 1029 w 1285"/>
                <a:gd name="T19" fmla="*/ 60 h 603"/>
                <a:gd name="T20" fmla="*/ 1227 w 1285"/>
                <a:gd name="T21" fmla="*/ 122 h 603"/>
                <a:gd name="T22" fmla="*/ 1219 w 1285"/>
                <a:gd name="T23" fmla="*/ 169 h 603"/>
                <a:gd name="T24" fmla="*/ 1204 w 1285"/>
                <a:gd name="T25" fmla="*/ 192 h 603"/>
                <a:gd name="T26" fmla="*/ 1188 w 1285"/>
                <a:gd name="T27" fmla="*/ 212 h 603"/>
                <a:gd name="T28" fmla="*/ 1170 w 1285"/>
                <a:gd name="T29" fmla="*/ 230 h 603"/>
                <a:gd name="T30" fmla="*/ 1110 w 1285"/>
                <a:gd name="T31" fmla="*/ 280 h 603"/>
                <a:gd name="T32" fmla="*/ 1086 w 1285"/>
                <a:gd name="T33" fmla="*/ 296 h 603"/>
                <a:gd name="T34" fmla="*/ 279 w 1285"/>
                <a:gd name="T35" fmla="*/ 547 h 603"/>
                <a:gd name="T36" fmla="*/ 236 w 1285"/>
                <a:gd name="T37" fmla="*/ 546 h 603"/>
                <a:gd name="T38" fmla="*/ 216 w 1285"/>
                <a:gd name="T39" fmla="*/ 546 h 603"/>
                <a:gd name="T40" fmla="*/ 196 w 1285"/>
                <a:gd name="T41" fmla="*/ 544 h 603"/>
                <a:gd name="T42" fmla="*/ 178 w 1285"/>
                <a:gd name="T43" fmla="*/ 542 h 603"/>
                <a:gd name="T44" fmla="*/ 162 w 1285"/>
                <a:gd name="T45" fmla="*/ 539 h 603"/>
                <a:gd name="T46" fmla="*/ 147 w 1285"/>
                <a:gd name="T47" fmla="*/ 536 h 603"/>
                <a:gd name="T48" fmla="*/ 133 w 1285"/>
                <a:gd name="T49" fmla="*/ 532 h 603"/>
                <a:gd name="T50" fmla="*/ 120 w 1285"/>
                <a:gd name="T51" fmla="*/ 528 h 603"/>
                <a:gd name="T52" fmla="*/ 108 w 1285"/>
                <a:gd name="T53" fmla="*/ 524 h 603"/>
                <a:gd name="T54" fmla="*/ 97 w 1285"/>
                <a:gd name="T55" fmla="*/ 519 h 603"/>
                <a:gd name="T56" fmla="*/ 87 w 1285"/>
                <a:gd name="T57" fmla="*/ 514 h 603"/>
                <a:gd name="T58" fmla="*/ 79 w 1285"/>
                <a:gd name="T59" fmla="*/ 508 h 603"/>
                <a:gd name="T60" fmla="*/ 73 w 1285"/>
                <a:gd name="T61" fmla="*/ 502 h 603"/>
                <a:gd name="T62" fmla="*/ 68 w 1285"/>
                <a:gd name="T63" fmla="*/ 494 h 603"/>
                <a:gd name="T64" fmla="*/ 63 w 1285"/>
                <a:gd name="T65" fmla="*/ 486 h 603"/>
                <a:gd name="T66" fmla="*/ 62 w 1285"/>
                <a:gd name="T67" fmla="*/ 484 h 603"/>
                <a:gd name="T68" fmla="*/ 206 w 1285"/>
                <a:gd name="T69" fmla="*/ 310 h 603"/>
                <a:gd name="T70" fmla="*/ 20 w 1285"/>
                <a:gd name="T71" fmla="*/ 412 h 603"/>
                <a:gd name="T72" fmla="*/ 262 w 1285"/>
                <a:gd name="T73" fmla="*/ 603 h 603"/>
                <a:gd name="T74" fmla="*/ 714 w 1285"/>
                <a:gd name="T75" fmla="*/ 525 h 603"/>
                <a:gd name="T76" fmla="*/ 1082 w 1285"/>
                <a:gd name="T77" fmla="*/ 364 h 603"/>
                <a:gd name="T78" fmla="*/ 1174 w 1285"/>
                <a:gd name="T79" fmla="*/ 301 h 603"/>
                <a:gd name="T80" fmla="*/ 1199 w 1285"/>
                <a:gd name="T81" fmla="*/ 280 h 603"/>
                <a:gd name="T82" fmla="*/ 1221 w 1285"/>
                <a:gd name="T83" fmla="*/ 258 h 603"/>
                <a:gd name="T84" fmla="*/ 1240 w 1285"/>
                <a:gd name="T85" fmla="*/ 237 h 603"/>
                <a:gd name="T86" fmla="*/ 1256 w 1285"/>
                <a:gd name="T87" fmla="*/ 216 h 603"/>
                <a:gd name="T88" fmla="*/ 1275 w 1285"/>
                <a:gd name="T89" fmla="*/ 184 h 603"/>
                <a:gd name="T90" fmla="*/ 1279 w 1285"/>
                <a:gd name="T91" fmla="*/ 172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85" h="603">
                  <a:moveTo>
                    <a:pt x="1279" y="172"/>
                  </a:moveTo>
                  <a:cubicBezTo>
                    <a:pt x="1279" y="171"/>
                    <a:pt x="1279" y="170"/>
                    <a:pt x="1280" y="169"/>
                  </a:cubicBezTo>
                  <a:cubicBezTo>
                    <a:pt x="1280" y="166"/>
                    <a:pt x="1281" y="163"/>
                    <a:pt x="1282" y="160"/>
                  </a:cubicBezTo>
                  <a:cubicBezTo>
                    <a:pt x="1282" y="159"/>
                    <a:pt x="1282" y="158"/>
                    <a:pt x="1283" y="157"/>
                  </a:cubicBezTo>
                  <a:cubicBezTo>
                    <a:pt x="1283" y="154"/>
                    <a:pt x="1284" y="152"/>
                    <a:pt x="1284" y="149"/>
                  </a:cubicBezTo>
                  <a:cubicBezTo>
                    <a:pt x="1284" y="148"/>
                    <a:pt x="1285" y="146"/>
                    <a:pt x="1285" y="145"/>
                  </a:cubicBezTo>
                  <a:cubicBezTo>
                    <a:pt x="1285" y="143"/>
                    <a:pt x="1285" y="140"/>
                    <a:pt x="1285" y="138"/>
                  </a:cubicBezTo>
                  <a:cubicBezTo>
                    <a:pt x="1285" y="137"/>
                    <a:pt x="1285" y="135"/>
                    <a:pt x="1285" y="133"/>
                  </a:cubicBezTo>
                  <a:cubicBezTo>
                    <a:pt x="1285" y="131"/>
                    <a:pt x="1285" y="130"/>
                    <a:pt x="1285" y="128"/>
                  </a:cubicBezTo>
                  <a:cubicBezTo>
                    <a:pt x="1285" y="125"/>
                    <a:pt x="1285" y="123"/>
                    <a:pt x="1284" y="121"/>
                  </a:cubicBezTo>
                  <a:cubicBezTo>
                    <a:pt x="1284" y="120"/>
                    <a:pt x="1284" y="118"/>
                    <a:pt x="1284" y="117"/>
                  </a:cubicBezTo>
                  <a:cubicBezTo>
                    <a:pt x="1284" y="114"/>
                    <a:pt x="1283" y="111"/>
                    <a:pt x="1282" y="108"/>
                  </a:cubicBezTo>
                  <a:cubicBezTo>
                    <a:pt x="1282" y="108"/>
                    <a:pt x="1281" y="107"/>
                    <a:pt x="1281" y="106"/>
                  </a:cubicBezTo>
                  <a:cubicBezTo>
                    <a:pt x="1281" y="106"/>
                    <a:pt x="1281" y="106"/>
                    <a:pt x="1281" y="106"/>
                  </a:cubicBezTo>
                  <a:cubicBezTo>
                    <a:pt x="1281" y="106"/>
                    <a:pt x="1281" y="106"/>
                    <a:pt x="1281" y="106"/>
                  </a:cubicBezTo>
                  <a:cubicBezTo>
                    <a:pt x="1281" y="106"/>
                    <a:pt x="1281" y="106"/>
                    <a:pt x="1281" y="106"/>
                  </a:cubicBezTo>
                  <a:cubicBezTo>
                    <a:pt x="1273" y="78"/>
                    <a:pt x="1253" y="56"/>
                    <a:pt x="1222" y="39"/>
                  </a:cubicBezTo>
                  <a:cubicBezTo>
                    <a:pt x="1168" y="10"/>
                    <a:pt x="1078" y="0"/>
                    <a:pt x="970" y="6"/>
                  </a:cubicBezTo>
                  <a:cubicBezTo>
                    <a:pt x="985" y="22"/>
                    <a:pt x="999" y="40"/>
                    <a:pt x="1012" y="60"/>
                  </a:cubicBezTo>
                  <a:cubicBezTo>
                    <a:pt x="1018" y="60"/>
                    <a:pt x="1024" y="60"/>
                    <a:pt x="1029" y="60"/>
                  </a:cubicBezTo>
                  <a:cubicBezTo>
                    <a:pt x="1100" y="60"/>
                    <a:pt x="1158" y="69"/>
                    <a:pt x="1195" y="89"/>
                  </a:cubicBezTo>
                  <a:cubicBezTo>
                    <a:pt x="1213" y="98"/>
                    <a:pt x="1224" y="110"/>
                    <a:pt x="1227" y="122"/>
                  </a:cubicBezTo>
                  <a:cubicBezTo>
                    <a:pt x="1227" y="123"/>
                    <a:pt x="1227" y="123"/>
                    <a:pt x="1227" y="123"/>
                  </a:cubicBezTo>
                  <a:cubicBezTo>
                    <a:pt x="1231" y="136"/>
                    <a:pt x="1228" y="151"/>
                    <a:pt x="1219" y="169"/>
                  </a:cubicBezTo>
                  <a:cubicBezTo>
                    <a:pt x="1216" y="174"/>
                    <a:pt x="1213" y="180"/>
                    <a:pt x="1209" y="186"/>
                  </a:cubicBezTo>
                  <a:cubicBezTo>
                    <a:pt x="1207" y="188"/>
                    <a:pt x="1206" y="190"/>
                    <a:pt x="1204" y="192"/>
                  </a:cubicBezTo>
                  <a:cubicBezTo>
                    <a:pt x="1201" y="196"/>
                    <a:pt x="1198" y="200"/>
                    <a:pt x="1196" y="203"/>
                  </a:cubicBezTo>
                  <a:cubicBezTo>
                    <a:pt x="1193" y="206"/>
                    <a:pt x="1191" y="209"/>
                    <a:pt x="1188" y="212"/>
                  </a:cubicBezTo>
                  <a:cubicBezTo>
                    <a:pt x="1186" y="214"/>
                    <a:pt x="1183" y="217"/>
                    <a:pt x="1180" y="220"/>
                  </a:cubicBezTo>
                  <a:cubicBezTo>
                    <a:pt x="1177" y="224"/>
                    <a:pt x="1174" y="227"/>
                    <a:pt x="1170" y="230"/>
                  </a:cubicBezTo>
                  <a:cubicBezTo>
                    <a:pt x="1169" y="232"/>
                    <a:pt x="1167" y="234"/>
                    <a:pt x="1165" y="235"/>
                  </a:cubicBezTo>
                  <a:cubicBezTo>
                    <a:pt x="1149" y="250"/>
                    <a:pt x="1130" y="265"/>
                    <a:pt x="1110" y="280"/>
                  </a:cubicBezTo>
                  <a:cubicBezTo>
                    <a:pt x="1110" y="280"/>
                    <a:pt x="1110" y="280"/>
                    <a:pt x="1110" y="280"/>
                  </a:cubicBezTo>
                  <a:cubicBezTo>
                    <a:pt x="1102" y="286"/>
                    <a:pt x="1094" y="291"/>
                    <a:pt x="1086" y="296"/>
                  </a:cubicBezTo>
                  <a:cubicBezTo>
                    <a:pt x="988" y="361"/>
                    <a:pt x="851" y="424"/>
                    <a:pt x="698" y="472"/>
                  </a:cubicBezTo>
                  <a:cubicBezTo>
                    <a:pt x="538" y="522"/>
                    <a:pt x="392" y="545"/>
                    <a:pt x="279" y="547"/>
                  </a:cubicBezTo>
                  <a:cubicBezTo>
                    <a:pt x="279" y="547"/>
                    <a:pt x="279" y="547"/>
                    <a:pt x="279" y="547"/>
                  </a:cubicBezTo>
                  <a:cubicBezTo>
                    <a:pt x="264" y="547"/>
                    <a:pt x="249" y="547"/>
                    <a:pt x="236" y="546"/>
                  </a:cubicBezTo>
                  <a:cubicBezTo>
                    <a:pt x="235" y="546"/>
                    <a:pt x="235" y="546"/>
                    <a:pt x="235" y="546"/>
                  </a:cubicBezTo>
                  <a:cubicBezTo>
                    <a:pt x="228" y="546"/>
                    <a:pt x="222" y="546"/>
                    <a:pt x="216" y="546"/>
                  </a:cubicBezTo>
                  <a:cubicBezTo>
                    <a:pt x="215" y="546"/>
                    <a:pt x="215" y="546"/>
                    <a:pt x="214" y="546"/>
                  </a:cubicBezTo>
                  <a:cubicBezTo>
                    <a:pt x="208" y="545"/>
                    <a:pt x="202" y="545"/>
                    <a:pt x="196" y="544"/>
                  </a:cubicBezTo>
                  <a:cubicBezTo>
                    <a:pt x="196" y="544"/>
                    <a:pt x="195" y="544"/>
                    <a:pt x="195" y="544"/>
                  </a:cubicBezTo>
                  <a:cubicBezTo>
                    <a:pt x="189" y="544"/>
                    <a:pt x="184" y="543"/>
                    <a:pt x="178" y="542"/>
                  </a:cubicBezTo>
                  <a:cubicBezTo>
                    <a:pt x="178" y="542"/>
                    <a:pt x="177" y="542"/>
                    <a:pt x="176" y="542"/>
                  </a:cubicBezTo>
                  <a:cubicBezTo>
                    <a:pt x="171" y="541"/>
                    <a:pt x="166" y="540"/>
                    <a:pt x="162" y="539"/>
                  </a:cubicBezTo>
                  <a:cubicBezTo>
                    <a:pt x="161" y="539"/>
                    <a:pt x="160" y="539"/>
                    <a:pt x="160" y="539"/>
                  </a:cubicBezTo>
                  <a:cubicBezTo>
                    <a:pt x="155" y="538"/>
                    <a:pt x="151" y="537"/>
                    <a:pt x="147" y="536"/>
                  </a:cubicBezTo>
                  <a:cubicBezTo>
                    <a:pt x="146" y="536"/>
                    <a:pt x="145" y="536"/>
                    <a:pt x="144" y="535"/>
                  </a:cubicBezTo>
                  <a:cubicBezTo>
                    <a:pt x="140" y="534"/>
                    <a:pt x="136" y="533"/>
                    <a:pt x="133" y="532"/>
                  </a:cubicBezTo>
                  <a:cubicBezTo>
                    <a:pt x="132" y="532"/>
                    <a:pt x="131" y="532"/>
                    <a:pt x="130" y="532"/>
                  </a:cubicBezTo>
                  <a:cubicBezTo>
                    <a:pt x="126" y="531"/>
                    <a:pt x="123" y="530"/>
                    <a:pt x="120" y="528"/>
                  </a:cubicBezTo>
                  <a:cubicBezTo>
                    <a:pt x="118" y="528"/>
                    <a:pt x="117" y="528"/>
                    <a:pt x="116" y="527"/>
                  </a:cubicBezTo>
                  <a:cubicBezTo>
                    <a:pt x="113" y="526"/>
                    <a:pt x="110" y="525"/>
                    <a:pt x="108" y="524"/>
                  </a:cubicBezTo>
                  <a:cubicBezTo>
                    <a:pt x="106" y="524"/>
                    <a:pt x="105" y="523"/>
                    <a:pt x="104" y="522"/>
                  </a:cubicBezTo>
                  <a:cubicBezTo>
                    <a:pt x="102" y="521"/>
                    <a:pt x="99" y="520"/>
                    <a:pt x="97" y="519"/>
                  </a:cubicBezTo>
                  <a:cubicBezTo>
                    <a:pt x="96" y="518"/>
                    <a:pt x="94" y="518"/>
                    <a:pt x="93" y="517"/>
                  </a:cubicBezTo>
                  <a:cubicBezTo>
                    <a:pt x="91" y="516"/>
                    <a:pt x="89" y="515"/>
                    <a:pt x="87" y="514"/>
                  </a:cubicBezTo>
                  <a:cubicBezTo>
                    <a:pt x="86" y="513"/>
                    <a:pt x="85" y="512"/>
                    <a:pt x="84" y="512"/>
                  </a:cubicBezTo>
                  <a:cubicBezTo>
                    <a:pt x="82" y="510"/>
                    <a:pt x="81" y="509"/>
                    <a:pt x="79" y="508"/>
                  </a:cubicBezTo>
                  <a:cubicBezTo>
                    <a:pt x="78" y="507"/>
                    <a:pt x="77" y="506"/>
                    <a:pt x="76" y="506"/>
                  </a:cubicBezTo>
                  <a:cubicBezTo>
                    <a:pt x="75" y="504"/>
                    <a:pt x="74" y="503"/>
                    <a:pt x="73" y="502"/>
                  </a:cubicBezTo>
                  <a:cubicBezTo>
                    <a:pt x="72" y="501"/>
                    <a:pt x="71" y="500"/>
                    <a:pt x="70" y="499"/>
                  </a:cubicBezTo>
                  <a:cubicBezTo>
                    <a:pt x="69" y="498"/>
                    <a:pt x="68" y="496"/>
                    <a:pt x="68" y="494"/>
                  </a:cubicBezTo>
                  <a:cubicBezTo>
                    <a:pt x="67" y="494"/>
                    <a:pt x="66" y="493"/>
                    <a:pt x="66" y="492"/>
                  </a:cubicBezTo>
                  <a:cubicBezTo>
                    <a:pt x="64" y="490"/>
                    <a:pt x="64" y="488"/>
                    <a:pt x="63" y="486"/>
                  </a:cubicBezTo>
                  <a:cubicBezTo>
                    <a:pt x="63" y="485"/>
                    <a:pt x="63" y="485"/>
                    <a:pt x="62" y="484"/>
                  </a:cubicBezTo>
                  <a:cubicBezTo>
                    <a:pt x="62" y="484"/>
                    <a:pt x="62" y="484"/>
                    <a:pt x="62" y="484"/>
                  </a:cubicBezTo>
                  <a:cubicBezTo>
                    <a:pt x="58" y="471"/>
                    <a:pt x="61" y="456"/>
                    <a:pt x="70" y="438"/>
                  </a:cubicBezTo>
                  <a:cubicBezTo>
                    <a:pt x="91" y="398"/>
                    <a:pt x="140" y="354"/>
                    <a:pt x="206" y="310"/>
                  </a:cubicBezTo>
                  <a:cubicBezTo>
                    <a:pt x="206" y="287"/>
                    <a:pt x="207" y="264"/>
                    <a:pt x="210" y="242"/>
                  </a:cubicBezTo>
                  <a:cubicBezTo>
                    <a:pt x="117" y="298"/>
                    <a:pt x="49" y="358"/>
                    <a:pt x="20" y="412"/>
                  </a:cubicBezTo>
                  <a:cubicBezTo>
                    <a:pt x="4" y="444"/>
                    <a:pt x="0" y="474"/>
                    <a:pt x="8" y="501"/>
                  </a:cubicBezTo>
                  <a:cubicBezTo>
                    <a:pt x="31" y="573"/>
                    <a:pt x="130" y="603"/>
                    <a:pt x="262" y="603"/>
                  </a:cubicBezTo>
                  <a:cubicBezTo>
                    <a:pt x="276" y="603"/>
                    <a:pt x="289" y="603"/>
                    <a:pt x="303" y="602"/>
                  </a:cubicBezTo>
                  <a:cubicBezTo>
                    <a:pt x="428" y="597"/>
                    <a:pt x="575" y="568"/>
                    <a:pt x="714" y="525"/>
                  </a:cubicBezTo>
                  <a:cubicBezTo>
                    <a:pt x="855" y="481"/>
                    <a:pt x="983" y="424"/>
                    <a:pt x="1082" y="364"/>
                  </a:cubicBezTo>
                  <a:cubicBezTo>
                    <a:pt x="1082" y="364"/>
                    <a:pt x="1082" y="364"/>
                    <a:pt x="1082" y="364"/>
                  </a:cubicBezTo>
                  <a:cubicBezTo>
                    <a:pt x="1082" y="364"/>
                    <a:pt x="1082" y="364"/>
                    <a:pt x="1082" y="364"/>
                  </a:cubicBezTo>
                  <a:cubicBezTo>
                    <a:pt x="1116" y="344"/>
                    <a:pt x="1147" y="322"/>
                    <a:pt x="1174" y="301"/>
                  </a:cubicBezTo>
                  <a:cubicBezTo>
                    <a:pt x="1174" y="300"/>
                    <a:pt x="1174" y="300"/>
                    <a:pt x="1175" y="300"/>
                  </a:cubicBezTo>
                  <a:cubicBezTo>
                    <a:pt x="1184" y="293"/>
                    <a:pt x="1192" y="286"/>
                    <a:pt x="1199" y="280"/>
                  </a:cubicBezTo>
                  <a:cubicBezTo>
                    <a:pt x="1200" y="278"/>
                    <a:pt x="1201" y="278"/>
                    <a:pt x="1202" y="276"/>
                  </a:cubicBezTo>
                  <a:cubicBezTo>
                    <a:pt x="1209" y="270"/>
                    <a:pt x="1216" y="264"/>
                    <a:pt x="1221" y="258"/>
                  </a:cubicBezTo>
                  <a:cubicBezTo>
                    <a:pt x="1223" y="256"/>
                    <a:pt x="1225" y="254"/>
                    <a:pt x="1227" y="252"/>
                  </a:cubicBezTo>
                  <a:cubicBezTo>
                    <a:pt x="1232" y="247"/>
                    <a:pt x="1236" y="242"/>
                    <a:pt x="1240" y="237"/>
                  </a:cubicBezTo>
                  <a:cubicBezTo>
                    <a:pt x="1243" y="234"/>
                    <a:pt x="1246" y="230"/>
                    <a:pt x="1248" y="227"/>
                  </a:cubicBezTo>
                  <a:cubicBezTo>
                    <a:pt x="1251" y="223"/>
                    <a:pt x="1254" y="220"/>
                    <a:pt x="1256" y="216"/>
                  </a:cubicBezTo>
                  <a:cubicBezTo>
                    <a:pt x="1261" y="209"/>
                    <a:pt x="1266" y="202"/>
                    <a:pt x="1269" y="195"/>
                  </a:cubicBezTo>
                  <a:cubicBezTo>
                    <a:pt x="1271" y="191"/>
                    <a:pt x="1273" y="187"/>
                    <a:pt x="1275" y="184"/>
                  </a:cubicBezTo>
                  <a:cubicBezTo>
                    <a:pt x="1275" y="183"/>
                    <a:pt x="1276" y="182"/>
                    <a:pt x="1276" y="181"/>
                  </a:cubicBezTo>
                  <a:cubicBezTo>
                    <a:pt x="1276" y="178"/>
                    <a:pt x="1278" y="175"/>
                    <a:pt x="1279" y="172"/>
                  </a:cubicBezTo>
                  <a:close/>
                </a:path>
              </a:pathLst>
            </a:custGeom>
            <a:grpFill/>
            <a:ln w="9525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5117" tIns="47558" rIns="95117" bIns="4755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id="{252A6932-11E8-4DA6-8515-5CF75F6518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1450" y="1887538"/>
              <a:ext cx="1320800" cy="1322388"/>
            </a:xfrm>
            <a:custGeom>
              <a:avLst/>
              <a:gdLst>
                <a:gd name="T0" fmla="*/ 388 w 415"/>
                <a:gd name="T1" fmla="*/ 179 h 415"/>
                <a:gd name="T2" fmla="*/ 386 w 415"/>
                <a:gd name="T3" fmla="*/ 179 h 415"/>
                <a:gd name="T4" fmla="*/ 386 w 415"/>
                <a:gd name="T5" fmla="*/ 179 h 415"/>
                <a:gd name="T6" fmla="*/ 235 w 415"/>
                <a:gd name="T7" fmla="*/ 45 h 415"/>
                <a:gd name="T8" fmla="*/ 236 w 415"/>
                <a:gd name="T9" fmla="*/ 30 h 415"/>
                <a:gd name="T10" fmla="*/ 227 w 415"/>
                <a:gd name="T11" fmla="*/ 9 h 415"/>
                <a:gd name="T12" fmla="*/ 206 w 415"/>
                <a:gd name="T13" fmla="*/ 0 h 415"/>
                <a:gd name="T14" fmla="*/ 178 w 415"/>
                <a:gd name="T15" fmla="*/ 28 h 415"/>
                <a:gd name="T16" fmla="*/ 179 w 415"/>
                <a:gd name="T17" fmla="*/ 46 h 415"/>
                <a:gd name="T18" fmla="*/ 45 w 415"/>
                <a:gd name="T19" fmla="*/ 181 h 415"/>
                <a:gd name="T20" fmla="*/ 28 w 415"/>
                <a:gd name="T21" fmla="*/ 180 h 415"/>
                <a:gd name="T22" fmla="*/ 0 w 415"/>
                <a:gd name="T23" fmla="*/ 208 h 415"/>
                <a:gd name="T24" fmla="*/ 0 w 415"/>
                <a:gd name="T25" fmla="*/ 209 h 415"/>
                <a:gd name="T26" fmla="*/ 0 w 415"/>
                <a:gd name="T27" fmla="*/ 209 h 415"/>
                <a:gd name="T28" fmla="*/ 28 w 415"/>
                <a:gd name="T29" fmla="*/ 237 h 415"/>
                <a:gd name="T30" fmla="*/ 45 w 415"/>
                <a:gd name="T31" fmla="*/ 237 h 415"/>
                <a:gd name="T32" fmla="*/ 180 w 415"/>
                <a:gd name="T33" fmla="*/ 387 h 415"/>
                <a:gd name="T34" fmla="*/ 208 w 415"/>
                <a:gd name="T35" fmla="*/ 415 h 415"/>
                <a:gd name="T36" fmla="*/ 236 w 415"/>
                <a:gd name="T37" fmla="*/ 387 h 415"/>
                <a:gd name="T38" fmla="*/ 387 w 415"/>
                <a:gd name="T39" fmla="*/ 236 h 415"/>
                <a:gd name="T40" fmla="*/ 415 w 415"/>
                <a:gd name="T41" fmla="*/ 208 h 415"/>
                <a:gd name="T42" fmla="*/ 388 w 415"/>
                <a:gd name="T43" fmla="*/ 179 h 415"/>
                <a:gd name="T44" fmla="*/ 208 w 415"/>
                <a:gd name="T45" fmla="*/ 283 h 415"/>
                <a:gd name="T46" fmla="*/ 134 w 415"/>
                <a:gd name="T47" fmla="*/ 209 h 415"/>
                <a:gd name="T48" fmla="*/ 208 w 415"/>
                <a:gd name="T49" fmla="*/ 134 h 415"/>
                <a:gd name="T50" fmla="*/ 283 w 415"/>
                <a:gd name="T51" fmla="*/ 208 h 415"/>
                <a:gd name="T52" fmla="*/ 208 w 415"/>
                <a:gd name="T53" fmla="*/ 283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15" h="415">
                  <a:moveTo>
                    <a:pt x="388" y="179"/>
                  </a:moveTo>
                  <a:cubicBezTo>
                    <a:pt x="387" y="179"/>
                    <a:pt x="387" y="179"/>
                    <a:pt x="386" y="179"/>
                  </a:cubicBezTo>
                  <a:cubicBezTo>
                    <a:pt x="386" y="179"/>
                    <a:pt x="386" y="179"/>
                    <a:pt x="386" y="179"/>
                  </a:cubicBezTo>
                  <a:cubicBezTo>
                    <a:pt x="308" y="179"/>
                    <a:pt x="244" y="121"/>
                    <a:pt x="235" y="45"/>
                  </a:cubicBezTo>
                  <a:cubicBezTo>
                    <a:pt x="236" y="40"/>
                    <a:pt x="236" y="35"/>
                    <a:pt x="236" y="30"/>
                  </a:cubicBezTo>
                  <a:cubicBezTo>
                    <a:pt x="236" y="21"/>
                    <a:pt x="232" y="14"/>
                    <a:pt x="227" y="9"/>
                  </a:cubicBezTo>
                  <a:cubicBezTo>
                    <a:pt x="222" y="3"/>
                    <a:pt x="214" y="0"/>
                    <a:pt x="206" y="0"/>
                  </a:cubicBezTo>
                  <a:cubicBezTo>
                    <a:pt x="190" y="0"/>
                    <a:pt x="178" y="12"/>
                    <a:pt x="178" y="28"/>
                  </a:cubicBezTo>
                  <a:cubicBezTo>
                    <a:pt x="178" y="34"/>
                    <a:pt x="178" y="40"/>
                    <a:pt x="179" y="46"/>
                  </a:cubicBezTo>
                  <a:cubicBezTo>
                    <a:pt x="171" y="117"/>
                    <a:pt x="115" y="173"/>
                    <a:pt x="45" y="181"/>
                  </a:cubicBezTo>
                  <a:cubicBezTo>
                    <a:pt x="39" y="180"/>
                    <a:pt x="34" y="180"/>
                    <a:pt x="28" y="180"/>
                  </a:cubicBezTo>
                  <a:cubicBezTo>
                    <a:pt x="12" y="180"/>
                    <a:pt x="0" y="192"/>
                    <a:pt x="0" y="208"/>
                  </a:cubicBezTo>
                  <a:cubicBezTo>
                    <a:pt x="0" y="208"/>
                    <a:pt x="0" y="209"/>
                    <a:pt x="0" y="209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0" y="225"/>
                    <a:pt x="12" y="237"/>
                    <a:pt x="28" y="237"/>
                  </a:cubicBezTo>
                  <a:cubicBezTo>
                    <a:pt x="34" y="237"/>
                    <a:pt x="39" y="237"/>
                    <a:pt x="45" y="237"/>
                  </a:cubicBezTo>
                  <a:cubicBezTo>
                    <a:pt x="120" y="245"/>
                    <a:pt x="180" y="309"/>
                    <a:pt x="180" y="387"/>
                  </a:cubicBezTo>
                  <a:cubicBezTo>
                    <a:pt x="180" y="403"/>
                    <a:pt x="192" y="415"/>
                    <a:pt x="208" y="415"/>
                  </a:cubicBezTo>
                  <a:cubicBezTo>
                    <a:pt x="223" y="415"/>
                    <a:pt x="236" y="403"/>
                    <a:pt x="236" y="387"/>
                  </a:cubicBezTo>
                  <a:cubicBezTo>
                    <a:pt x="236" y="304"/>
                    <a:pt x="304" y="236"/>
                    <a:pt x="387" y="236"/>
                  </a:cubicBezTo>
                  <a:cubicBezTo>
                    <a:pt x="403" y="236"/>
                    <a:pt x="415" y="223"/>
                    <a:pt x="415" y="208"/>
                  </a:cubicBezTo>
                  <a:cubicBezTo>
                    <a:pt x="415" y="192"/>
                    <a:pt x="403" y="179"/>
                    <a:pt x="388" y="179"/>
                  </a:cubicBezTo>
                  <a:close/>
                  <a:moveTo>
                    <a:pt x="208" y="283"/>
                  </a:moveTo>
                  <a:cubicBezTo>
                    <a:pt x="190" y="253"/>
                    <a:pt x="164" y="227"/>
                    <a:pt x="134" y="209"/>
                  </a:cubicBezTo>
                  <a:cubicBezTo>
                    <a:pt x="164" y="191"/>
                    <a:pt x="190" y="165"/>
                    <a:pt x="208" y="134"/>
                  </a:cubicBezTo>
                  <a:cubicBezTo>
                    <a:pt x="226" y="165"/>
                    <a:pt x="252" y="191"/>
                    <a:pt x="283" y="208"/>
                  </a:cubicBezTo>
                  <a:cubicBezTo>
                    <a:pt x="252" y="227"/>
                    <a:pt x="226" y="253"/>
                    <a:pt x="208" y="283"/>
                  </a:cubicBezTo>
                  <a:close/>
                </a:path>
              </a:pathLst>
            </a:custGeom>
            <a:grpFill/>
            <a:ln w="9525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5117" tIns="47558" rIns="95117" bIns="4755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reeform 14">
              <a:extLst>
                <a:ext uri="{FF2B5EF4-FFF2-40B4-BE49-F238E27FC236}">
                  <a16:creationId xmlns:a16="http://schemas.microsoft.com/office/drawing/2014/main" id="{B8FCBE22-72E6-4C50-A55B-02E9FB5D01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9538" y="3944938"/>
              <a:ext cx="579438" cy="231775"/>
            </a:xfrm>
            <a:custGeom>
              <a:avLst/>
              <a:gdLst>
                <a:gd name="T0" fmla="*/ 128 w 182"/>
                <a:gd name="T1" fmla="*/ 0 h 73"/>
                <a:gd name="T2" fmla="*/ 86 w 182"/>
                <a:gd name="T3" fmla="*/ 0 h 73"/>
                <a:gd name="T4" fmla="*/ 0 w 182"/>
                <a:gd name="T5" fmla="*/ 73 h 73"/>
                <a:gd name="T6" fmla="*/ 182 w 182"/>
                <a:gd name="T7" fmla="*/ 0 h 73"/>
                <a:gd name="T8" fmla="*/ 128 w 182"/>
                <a:gd name="T9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2" h="73">
                  <a:moveTo>
                    <a:pt x="128" y="0"/>
                  </a:moveTo>
                  <a:cubicBezTo>
                    <a:pt x="105" y="0"/>
                    <a:pt x="89" y="0"/>
                    <a:pt x="86" y="0"/>
                  </a:cubicBezTo>
                  <a:cubicBezTo>
                    <a:pt x="43" y="0"/>
                    <a:pt x="7" y="31"/>
                    <a:pt x="0" y="73"/>
                  </a:cubicBezTo>
                  <a:cubicBezTo>
                    <a:pt x="67" y="50"/>
                    <a:pt x="128" y="25"/>
                    <a:pt x="182" y="0"/>
                  </a:cubicBezTo>
                  <a:cubicBezTo>
                    <a:pt x="162" y="0"/>
                    <a:pt x="143" y="0"/>
                    <a:pt x="128" y="0"/>
                  </a:cubicBezTo>
                  <a:close/>
                </a:path>
              </a:pathLst>
            </a:custGeom>
            <a:grpFill/>
            <a:ln w="9525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5117" tIns="47558" rIns="95117" bIns="4755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 15">
              <a:extLst>
                <a:ext uri="{FF2B5EF4-FFF2-40B4-BE49-F238E27FC236}">
                  <a16:creationId xmlns:a16="http://schemas.microsoft.com/office/drawing/2014/main" id="{F7990A79-389F-45E7-A6B9-C5CED0B65DD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2188" y="2435226"/>
              <a:ext cx="2625725" cy="2022475"/>
            </a:xfrm>
            <a:custGeom>
              <a:avLst/>
              <a:gdLst>
                <a:gd name="T0" fmla="*/ 94 w 825"/>
                <a:gd name="T1" fmla="*/ 635 h 635"/>
                <a:gd name="T2" fmla="*/ 375 w 825"/>
                <a:gd name="T3" fmla="*/ 590 h 635"/>
                <a:gd name="T4" fmla="*/ 270 w 825"/>
                <a:gd name="T5" fmla="*/ 487 h 635"/>
                <a:gd name="T6" fmla="*/ 254 w 825"/>
                <a:gd name="T7" fmla="*/ 487 h 635"/>
                <a:gd name="T8" fmla="*/ 257 w 825"/>
                <a:gd name="T9" fmla="*/ 462 h 635"/>
                <a:gd name="T10" fmla="*/ 152 w 825"/>
                <a:gd name="T11" fmla="*/ 357 h 635"/>
                <a:gd name="T12" fmla="*/ 92 w 825"/>
                <a:gd name="T13" fmla="*/ 357 h 635"/>
                <a:gd name="T14" fmla="*/ 360 w 825"/>
                <a:gd name="T15" fmla="*/ 91 h 635"/>
                <a:gd name="T16" fmla="*/ 537 w 825"/>
                <a:gd name="T17" fmla="*/ 99 h 635"/>
                <a:gd name="T18" fmla="*/ 535 w 825"/>
                <a:gd name="T19" fmla="*/ 100 h 635"/>
                <a:gd name="T20" fmla="*/ 506 w 825"/>
                <a:gd name="T21" fmla="*/ 157 h 635"/>
                <a:gd name="T22" fmla="*/ 509 w 825"/>
                <a:gd name="T23" fmla="*/ 176 h 635"/>
                <a:gd name="T24" fmla="*/ 461 w 825"/>
                <a:gd name="T25" fmla="*/ 176 h 635"/>
                <a:gd name="T26" fmla="*/ 352 w 825"/>
                <a:gd name="T27" fmla="*/ 285 h 635"/>
                <a:gd name="T28" fmla="*/ 461 w 825"/>
                <a:gd name="T29" fmla="*/ 393 h 635"/>
                <a:gd name="T30" fmla="*/ 609 w 825"/>
                <a:gd name="T31" fmla="*/ 393 h 635"/>
                <a:gd name="T32" fmla="*/ 775 w 825"/>
                <a:gd name="T33" fmla="*/ 393 h 635"/>
                <a:gd name="T34" fmla="*/ 775 w 825"/>
                <a:gd name="T35" fmla="*/ 393 h 635"/>
                <a:gd name="T36" fmla="*/ 777 w 825"/>
                <a:gd name="T37" fmla="*/ 436 h 635"/>
                <a:gd name="T38" fmla="*/ 825 w 825"/>
                <a:gd name="T39" fmla="*/ 409 h 635"/>
                <a:gd name="T40" fmla="*/ 817 w 825"/>
                <a:gd name="T41" fmla="*/ 351 h 635"/>
                <a:gd name="T42" fmla="*/ 351 w 825"/>
                <a:gd name="T43" fmla="*/ 45 h 635"/>
                <a:gd name="T44" fmla="*/ 45 w 825"/>
                <a:gd name="T45" fmla="*/ 511 h 635"/>
                <a:gd name="T46" fmla="*/ 94 w 825"/>
                <a:gd name="T47" fmla="*/ 635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25" h="635">
                  <a:moveTo>
                    <a:pt x="94" y="635"/>
                  </a:moveTo>
                  <a:cubicBezTo>
                    <a:pt x="179" y="631"/>
                    <a:pt x="275" y="615"/>
                    <a:pt x="375" y="590"/>
                  </a:cubicBezTo>
                  <a:cubicBezTo>
                    <a:pt x="374" y="533"/>
                    <a:pt x="328" y="487"/>
                    <a:pt x="270" y="487"/>
                  </a:cubicBezTo>
                  <a:cubicBezTo>
                    <a:pt x="268" y="487"/>
                    <a:pt x="262" y="487"/>
                    <a:pt x="254" y="487"/>
                  </a:cubicBezTo>
                  <a:cubicBezTo>
                    <a:pt x="256" y="479"/>
                    <a:pt x="257" y="471"/>
                    <a:pt x="257" y="462"/>
                  </a:cubicBezTo>
                  <a:cubicBezTo>
                    <a:pt x="257" y="404"/>
                    <a:pt x="210" y="357"/>
                    <a:pt x="152" y="357"/>
                  </a:cubicBezTo>
                  <a:cubicBezTo>
                    <a:pt x="148" y="357"/>
                    <a:pt x="126" y="357"/>
                    <a:pt x="92" y="357"/>
                  </a:cubicBezTo>
                  <a:cubicBezTo>
                    <a:pt x="120" y="227"/>
                    <a:pt x="222" y="119"/>
                    <a:pt x="360" y="91"/>
                  </a:cubicBezTo>
                  <a:cubicBezTo>
                    <a:pt x="438" y="75"/>
                    <a:pt x="510" y="91"/>
                    <a:pt x="537" y="99"/>
                  </a:cubicBezTo>
                  <a:cubicBezTo>
                    <a:pt x="537" y="99"/>
                    <a:pt x="536" y="101"/>
                    <a:pt x="535" y="100"/>
                  </a:cubicBezTo>
                  <a:cubicBezTo>
                    <a:pt x="518" y="113"/>
                    <a:pt x="506" y="134"/>
                    <a:pt x="506" y="157"/>
                  </a:cubicBezTo>
                  <a:cubicBezTo>
                    <a:pt x="506" y="163"/>
                    <a:pt x="507" y="170"/>
                    <a:pt x="509" y="176"/>
                  </a:cubicBezTo>
                  <a:cubicBezTo>
                    <a:pt x="482" y="176"/>
                    <a:pt x="465" y="176"/>
                    <a:pt x="461" y="176"/>
                  </a:cubicBezTo>
                  <a:cubicBezTo>
                    <a:pt x="401" y="176"/>
                    <a:pt x="352" y="225"/>
                    <a:pt x="352" y="285"/>
                  </a:cubicBezTo>
                  <a:cubicBezTo>
                    <a:pt x="352" y="345"/>
                    <a:pt x="401" y="393"/>
                    <a:pt x="461" y="393"/>
                  </a:cubicBezTo>
                  <a:cubicBezTo>
                    <a:pt x="468" y="393"/>
                    <a:pt x="531" y="393"/>
                    <a:pt x="609" y="393"/>
                  </a:cubicBezTo>
                  <a:cubicBezTo>
                    <a:pt x="661" y="393"/>
                    <a:pt x="720" y="393"/>
                    <a:pt x="775" y="393"/>
                  </a:cubicBezTo>
                  <a:cubicBezTo>
                    <a:pt x="775" y="393"/>
                    <a:pt x="775" y="393"/>
                    <a:pt x="775" y="393"/>
                  </a:cubicBezTo>
                  <a:cubicBezTo>
                    <a:pt x="777" y="408"/>
                    <a:pt x="778" y="422"/>
                    <a:pt x="777" y="436"/>
                  </a:cubicBezTo>
                  <a:cubicBezTo>
                    <a:pt x="794" y="427"/>
                    <a:pt x="810" y="418"/>
                    <a:pt x="825" y="409"/>
                  </a:cubicBezTo>
                  <a:cubicBezTo>
                    <a:pt x="824" y="389"/>
                    <a:pt x="821" y="370"/>
                    <a:pt x="817" y="351"/>
                  </a:cubicBezTo>
                  <a:cubicBezTo>
                    <a:pt x="772" y="137"/>
                    <a:pt x="564" y="0"/>
                    <a:pt x="351" y="45"/>
                  </a:cubicBezTo>
                  <a:cubicBezTo>
                    <a:pt x="137" y="88"/>
                    <a:pt x="0" y="298"/>
                    <a:pt x="45" y="511"/>
                  </a:cubicBezTo>
                  <a:cubicBezTo>
                    <a:pt x="55" y="556"/>
                    <a:pt x="72" y="598"/>
                    <a:pt x="94" y="635"/>
                  </a:cubicBezTo>
                  <a:close/>
                </a:path>
              </a:pathLst>
            </a:custGeom>
            <a:grpFill/>
            <a:ln w="9525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5117" tIns="47558" rIns="95117" bIns="4755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 16">
              <a:extLst>
                <a:ext uri="{FF2B5EF4-FFF2-40B4-BE49-F238E27FC236}">
                  <a16:creationId xmlns:a16="http://schemas.microsoft.com/office/drawing/2014/main" id="{41342FB9-ED02-4FAC-8BB6-0C72A6D79E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4175" y="4257676"/>
              <a:ext cx="1881188" cy="849313"/>
            </a:xfrm>
            <a:custGeom>
              <a:avLst/>
              <a:gdLst>
                <a:gd name="T0" fmla="*/ 302 w 591"/>
                <a:gd name="T1" fmla="*/ 116 h 267"/>
                <a:gd name="T2" fmla="*/ 261 w 591"/>
                <a:gd name="T3" fmla="*/ 128 h 267"/>
                <a:gd name="T4" fmla="*/ 306 w 591"/>
                <a:gd name="T5" fmla="*/ 194 h 267"/>
                <a:gd name="T6" fmla="*/ 306 w 591"/>
                <a:gd name="T7" fmla="*/ 195 h 267"/>
                <a:gd name="T8" fmla="*/ 294 w 591"/>
                <a:gd name="T9" fmla="*/ 198 h 267"/>
                <a:gd name="T10" fmla="*/ 76 w 591"/>
                <a:gd name="T11" fmla="*/ 172 h 267"/>
                <a:gd name="T12" fmla="*/ 0 w 591"/>
                <a:gd name="T13" fmla="*/ 184 h 267"/>
                <a:gd name="T14" fmla="*/ 304 w 591"/>
                <a:gd name="T15" fmla="*/ 244 h 267"/>
                <a:gd name="T16" fmla="*/ 591 w 591"/>
                <a:gd name="T17" fmla="*/ 0 h 267"/>
                <a:gd name="T18" fmla="*/ 302 w 591"/>
                <a:gd name="T19" fmla="*/ 116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1" h="267">
                  <a:moveTo>
                    <a:pt x="302" y="116"/>
                  </a:moveTo>
                  <a:cubicBezTo>
                    <a:pt x="289" y="121"/>
                    <a:pt x="275" y="124"/>
                    <a:pt x="261" y="128"/>
                  </a:cubicBezTo>
                  <a:cubicBezTo>
                    <a:pt x="265" y="157"/>
                    <a:pt x="282" y="181"/>
                    <a:pt x="306" y="194"/>
                  </a:cubicBezTo>
                  <a:cubicBezTo>
                    <a:pt x="306" y="195"/>
                    <a:pt x="306" y="195"/>
                    <a:pt x="306" y="195"/>
                  </a:cubicBezTo>
                  <a:cubicBezTo>
                    <a:pt x="302" y="196"/>
                    <a:pt x="298" y="197"/>
                    <a:pt x="294" y="198"/>
                  </a:cubicBezTo>
                  <a:cubicBezTo>
                    <a:pt x="217" y="214"/>
                    <a:pt x="141" y="203"/>
                    <a:pt x="76" y="172"/>
                  </a:cubicBezTo>
                  <a:cubicBezTo>
                    <a:pt x="50" y="177"/>
                    <a:pt x="25" y="181"/>
                    <a:pt x="0" y="184"/>
                  </a:cubicBezTo>
                  <a:cubicBezTo>
                    <a:pt x="86" y="243"/>
                    <a:pt x="194" y="267"/>
                    <a:pt x="304" y="244"/>
                  </a:cubicBezTo>
                  <a:cubicBezTo>
                    <a:pt x="440" y="215"/>
                    <a:pt x="544" y="121"/>
                    <a:pt x="591" y="0"/>
                  </a:cubicBezTo>
                  <a:cubicBezTo>
                    <a:pt x="507" y="43"/>
                    <a:pt x="409" y="83"/>
                    <a:pt x="302" y="116"/>
                  </a:cubicBezTo>
                  <a:close/>
                </a:path>
              </a:pathLst>
            </a:custGeom>
            <a:grpFill/>
            <a:ln w="9525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5117" tIns="47558" rIns="95117" bIns="4755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1" name="Rectangle 70">
            <a:extLst>
              <a:ext uri="{FF2B5EF4-FFF2-40B4-BE49-F238E27FC236}">
                <a16:creationId xmlns:a16="http://schemas.microsoft.com/office/drawing/2014/main" id="{86AB075B-5290-43F3-89DB-2D58834D0822}"/>
              </a:ext>
            </a:extLst>
          </p:cNvPr>
          <p:cNvSpPr/>
          <p:nvPr/>
        </p:nvSpPr>
        <p:spPr>
          <a:xfrm>
            <a:off x="6544695" y="3955577"/>
            <a:ext cx="13880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Azure </a:t>
            </a:r>
            <a:r>
              <a:rPr kumimoji="0" lang="de-CH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Cosmos</a:t>
            </a: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 DB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F1D47F16-9340-4A5E-AAC9-19F77AD9A5C6}"/>
              </a:ext>
            </a:extLst>
          </p:cNvPr>
          <p:cNvSpPr/>
          <p:nvPr/>
        </p:nvSpPr>
        <p:spPr bwMode="auto">
          <a:xfrm>
            <a:off x="1824892" y="1615887"/>
            <a:ext cx="3720099" cy="990542"/>
          </a:xfrm>
          <a:prstGeom prst="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Calibri" panose="020F0502020204030204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3" name="Picture 72" descr="https://upload.wikimedia.org/wikipedia/en/thumb/5/54/Gremlin_%28programming_language%29.png/383px-Gremlin_%28programming_language%29.png">
            <a:extLst>
              <a:ext uri="{FF2B5EF4-FFF2-40B4-BE49-F238E27FC236}">
                <a16:creationId xmlns:a16="http://schemas.microsoft.com/office/drawing/2014/main" id="{DF80029D-F030-4DDA-BCD9-739E5BD7AD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139951" y="3094994"/>
            <a:ext cx="974953" cy="37929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73">
            <a:extLst>
              <a:ext uri="{FF2B5EF4-FFF2-40B4-BE49-F238E27FC236}">
                <a16:creationId xmlns:a16="http://schemas.microsoft.com/office/drawing/2014/main" id="{E82506A5-6623-4709-A38F-AE57DD81773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2951" y="3606320"/>
            <a:ext cx="484177" cy="524109"/>
          </a:xfrm>
          <a:prstGeom prst="rect">
            <a:avLst/>
          </a:prstGeom>
        </p:spPr>
      </p:pic>
      <p:sp>
        <p:nvSpPr>
          <p:cNvPr id="75" name="TextBox 74">
            <a:extLst>
              <a:ext uri="{FF2B5EF4-FFF2-40B4-BE49-F238E27FC236}">
                <a16:creationId xmlns:a16="http://schemas.microsoft.com/office/drawing/2014/main" id="{A09A97B2-6A1A-45A0-847E-C71F5AC5DBEC}"/>
              </a:ext>
            </a:extLst>
          </p:cNvPr>
          <p:cNvSpPr txBox="1"/>
          <p:nvPr/>
        </p:nvSpPr>
        <p:spPr>
          <a:xfrm>
            <a:off x="5508504" y="3762048"/>
            <a:ext cx="90601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ngoDB API</a:t>
            </a:r>
          </a:p>
        </p:txBody>
      </p:sp>
      <p:pic>
        <p:nvPicPr>
          <p:cNvPr id="76" name="Picture 75">
            <a:extLst>
              <a:ext uri="{FF2B5EF4-FFF2-40B4-BE49-F238E27FC236}">
                <a16:creationId xmlns:a16="http://schemas.microsoft.com/office/drawing/2014/main" id="{108F4D16-089F-4AA4-86E1-469A7E43E839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11115" y="2960549"/>
            <a:ext cx="990865" cy="676752"/>
          </a:xfrm>
          <a:prstGeom prst="rect">
            <a:avLst/>
          </a:prstGeom>
        </p:spPr>
      </p:pic>
      <p:sp>
        <p:nvSpPr>
          <p:cNvPr id="77" name="TextBox 76">
            <a:extLst>
              <a:ext uri="{FF2B5EF4-FFF2-40B4-BE49-F238E27FC236}">
                <a16:creationId xmlns:a16="http://schemas.microsoft.com/office/drawing/2014/main" id="{7A920547-CE9E-40CE-928F-EE1A6EF01AEE}"/>
              </a:ext>
            </a:extLst>
          </p:cNvPr>
          <p:cNvSpPr txBox="1"/>
          <p:nvPr/>
        </p:nvSpPr>
        <p:spPr>
          <a:xfrm>
            <a:off x="8764786" y="3893964"/>
            <a:ext cx="66877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ble API</a:t>
            </a:r>
          </a:p>
        </p:txBody>
      </p:sp>
      <p:pic>
        <p:nvPicPr>
          <p:cNvPr id="78" name="Picture 77">
            <a:extLst>
              <a:ext uri="{FF2B5EF4-FFF2-40B4-BE49-F238E27FC236}">
                <a16:creationId xmlns:a16="http://schemas.microsoft.com/office/drawing/2014/main" id="{2F9F1103-7292-475C-BCE4-57D89313836C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79084" y="3817219"/>
            <a:ext cx="463080" cy="414842"/>
          </a:xfrm>
          <a:prstGeom prst="rect">
            <a:avLst/>
          </a:prstGeom>
        </p:spPr>
      </p:pic>
      <p:grpSp>
        <p:nvGrpSpPr>
          <p:cNvPr id="79" name="Group 78">
            <a:extLst>
              <a:ext uri="{FF2B5EF4-FFF2-40B4-BE49-F238E27FC236}">
                <a16:creationId xmlns:a16="http://schemas.microsoft.com/office/drawing/2014/main" id="{8435086E-7209-47BC-ACCC-FDD62534C499}"/>
              </a:ext>
            </a:extLst>
          </p:cNvPr>
          <p:cNvGrpSpPr/>
          <p:nvPr/>
        </p:nvGrpSpPr>
        <p:grpSpPr>
          <a:xfrm>
            <a:off x="7120660" y="1666346"/>
            <a:ext cx="462710" cy="456399"/>
            <a:chOff x="1244746" y="1734245"/>
            <a:chExt cx="648280" cy="497011"/>
          </a:xfrm>
        </p:grpSpPr>
        <p:sp>
          <p:nvSpPr>
            <p:cNvPr id="80" name="Freeform 106">
              <a:extLst>
                <a:ext uri="{FF2B5EF4-FFF2-40B4-BE49-F238E27FC236}">
                  <a16:creationId xmlns:a16="http://schemas.microsoft.com/office/drawing/2014/main" id="{AD3FA05B-3D4E-4BF7-8B1B-902C5F9A7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4746" y="1734245"/>
              <a:ext cx="448648" cy="432654"/>
            </a:xfrm>
            <a:custGeom>
              <a:avLst/>
              <a:gdLst>
                <a:gd name="T0" fmla="*/ 35 w 70"/>
                <a:gd name="T1" fmla="*/ 4 h 82"/>
                <a:gd name="T2" fmla="*/ 64 w 70"/>
                <a:gd name="T3" fmla="*/ 12 h 82"/>
                <a:gd name="T4" fmla="*/ 35 w 70"/>
                <a:gd name="T5" fmla="*/ 20 h 82"/>
                <a:gd name="T6" fmla="*/ 6 w 70"/>
                <a:gd name="T7" fmla="*/ 12 h 82"/>
                <a:gd name="T8" fmla="*/ 35 w 70"/>
                <a:gd name="T9" fmla="*/ 4 h 82"/>
                <a:gd name="T10" fmla="*/ 35 w 70"/>
                <a:gd name="T11" fmla="*/ 0 h 82"/>
                <a:gd name="T12" fmla="*/ 21 w 70"/>
                <a:gd name="T13" fmla="*/ 1 h 82"/>
                <a:gd name="T14" fmla="*/ 10 w 70"/>
                <a:gd name="T15" fmla="*/ 4 h 82"/>
                <a:gd name="T16" fmla="*/ 3 w 70"/>
                <a:gd name="T17" fmla="*/ 8 h 82"/>
                <a:gd name="T18" fmla="*/ 1 w 70"/>
                <a:gd name="T19" fmla="*/ 11 h 82"/>
                <a:gd name="T20" fmla="*/ 0 w 70"/>
                <a:gd name="T21" fmla="*/ 14 h 82"/>
                <a:gd name="T22" fmla="*/ 0 w 70"/>
                <a:gd name="T23" fmla="*/ 69 h 82"/>
                <a:gd name="T24" fmla="*/ 1 w 70"/>
                <a:gd name="T25" fmla="*/ 71 h 82"/>
                <a:gd name="T26" fmla="*/ 3 w 70"/>
                <a:gd name="T27" fmla="*/ 74 h 82"/>
                <a:gd name="T28" fmla="*/ 10 w 70"/>
                <a:gd name="T29" fmla="*/ 78 h 82"/>
                <a:gd name="T30" fmla="*/ 21 w 70"/>
                <a:gd name="T31" fmla="*/ 81 h 82"/>
                <a:gd name="T32" fmla="*/ 35 w 70"/>
                <a:gd name="T33" fmla="*/ 82 h 82"/>
                <a:gd name="T34" fmla="*/ 60 w 70"/>
                <a:gd name="T35" fmla="*/ 78 h 82"/>
                <a:gd name="T36" fmla="*/ 67 w 70"/>
                <a:gd name="T37" fmla="*/ 74 h 82"/>
                <a:gd name="T38" fmla="*/ 69 w 70"/>
                <a:gd name="T39" fmla="*/ 71 h 82"/>
                <a:gd name="T40" fmla="*/ 70 w 70"/>
                <a:gd name="T41" fmla="*/ 69 h 82"/>
                <a:gd name="T42" fmla="*/ 70 w 70"/>
                <a:gd name="T43" fmla="*/ 14 h 82"/>
                <a:gd name="T44" fmla="*/ 67 w 70"/>
                <a:gd name="T45" fmla="*/ 8 h 82"/>
                <a:gd name="T46" fmla="*/ 60 w 70"/>
                <a:gd name="T47" fmla="*/ 4 h 82"/>
                <a:gd name="T48" fmla="*/ 49 w 70"/>
                <a:gd name="T49" fmla="*/ 1 h 82"/>
                <a:gd name="T50" fmla="*/ 35 w 70"/>
                <a:gd name="T51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0" h="82">
                  <a:moveTo>
                    <a:pt x="35" y="4"/>
                  </a:moveTo>
                  <a:cubicBezTo>
                    <a:pt x="51" y="4"/>
                    <a:pt x="64" y="8"/>
                    <a:pt x="64" y="12"/>
                  </a:cubicBezTo>
                  <a:cubicBezTo>
                    <a:pt x="64" y="17"/>
                    <a:pt x="51" y="20"/>
                    <a:pt x="35" y="20"/>
                  </a:cubicBezTo>
                  <a:cubicBezTo>
                    <a:pt x="19" y="20"/>
                    <a:pt x="6" y="17"/>
                    <a:pt x="6" y="12"/>
                  </a:cubicBezTo>
                  <a:cubicBezTo>
                    <a:pt x="6" y="8"/>
                    <a:pt x="19" y="4"/>
                    <a:pt x="35" y="4"/>
                  </a:cubicBezTo>
                  <a:close/>
                  <a:moveTo>
                    <a:pt x="35" y="0"/>
                  </a:moveTo>
                  <a:cubicBezTo>
                    <a:pt x="21" y="1"/>
                    <a:pt x="21" y="1"/>
                    <a:pt x="21" y="1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3" y="74"/>
                    <a:pt x="3" y="74"/>
                    <a:pt x="3" y="74"/>
                  </a:cubicBezTo>
                  <a:cubicBezTo>
                    <a:pt x="10" y="78"/>
                    <a:pt x="10" y="78"/>
                    <a:pt x="10" y="78"/>
                  </a:cubicBezTo>
                  <a:cubicBezTo>
                    <a:pt x="21" y="81"/>
                    <a:pt x="21" y="81"/>
                    <a:pt x="21" y="81"/>
                  </a:cubicBezTo>
                  <a:cubicBezTo>
                    <a:pt x="26" y="82"/>
                    <a:pt x="30" y="82"/>
                    <a:pt x="35" y="82"/>
                  </a:cubicBezTo>
                  <a:cubicBezTo>
                    <a:pt x="45" y="82"/>
                    <a:pt x="53" y="81"/>
                    <a:pt x="60" y="78"/>
                  </a:cubicBezTo>
                  <a:cubicBezTo>
                    <a:pt x="63" y="77"/>
                    <a:pt x="66" y="76"/>
                    <a:pt x="67" y="74"/>
                  </a:cubicBezTo>
                  <a:cubicBezTo>
                    <a:pt x="68" y="73"/>
                    <a:pt x="69" y="72"/>
                    <a:pt x="69" y="71"/>
                  </a:cubicBezTo>
                  <a:cubicBezTo>
                    <a:pt x="70" y="71"/>
                    <a:pt x="70" y="70"/>
                    <a:pt x="70" y="69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70" y="12"/>
                    <a:pt x="69" y="10"/>
                    <a:pt x="67" y="8"/>
                  </a:cubicBezTo>
                  <a:cubicBezTo>
                    <a:pt x="66" y="7"/>
                    <a:pt x="63" y="5"/>
                    <a:pt x="60" y="4"/>
                  </a:cubicBezTo>
                  <a:cubicBezTo>
                    <a:pt x="57" y="3"/>
                    <a:pt x="53" y="2"/>
                    <a:pt x="49" y="1"/>
                  </a:cubicBezTo>
                  <a:cubicBezTo>
                    <a:pt x="45" y="0"/>
                    <a:pt x="40" y="0"/>
                    <a:pt x="3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0" tIns="18288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QL</a:t>
              </a:r>
            </a:p>
          </p:txBody>
        </p:sp>
        <p:sp>
          <p:nvSpPr>
            <p:cNvPr id="81" name="Freeform 46">
              <a:extLst>
                <a:ext uri="{FF2B5EF4-FFF2-40B4-BE49-F238E27FC236}">
                  <a16:creationId xmlns:a16="http://schemas.microsoft.com/office/drawing/2014/main" id="{ED684106-E4FE-4911-AF48-D96C5DBB0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7399" y="2051791"/>
              <a:ext cx="375627" cy="179465"/>
            </a:xfrm>
            <a:custGeom>
              <a:avLst/>
              <a:gdLst>
                <a:gd name="T0" fmla="*/ 203 w 242"/>
                <a:gd name="T1" fmla="*/ 70 h 160"/>
                <a:gd name="T2" fmla="*/ 203 w 242"/>
                <a:gd name="T3" fmla="*/ 67 h 160"/>
                <a:gd name="T4" fmla="*/ 136 w 242"/>
                <a:gd name="T5" fmla="*/ 0 h 160"/>
                <a:gd name="T6" fmla="*/ 81 w 242"/>
                <a:gd name="T7" fmla="*/ 30 h 160"/>
                <a:gd name="T8" fmla="*/ 62 w 242"/>
                <a:gd name="T9" fmla="*/ 25 h 160"/>
                <a:gd name="T10" fmla="*/ 24 w 242"/>
                <a:gd name="T11" fmla="*/ 63 h 160"/>
                <a:gd name="T12" fmla="*/ 0 w 242"/>
                <a:gd name="T13" fmla="*/ 107 h 160"/>
                <a:gd name="T14" fmla="*/ 46 w 242"/>
                <a:gd name="T15" fmla="*/ 160 h 160"/>
                <a:gd name="T16" fmla="*/ 52 w 242"/>
                <a:gd name="T17" fmla="*/ 160 h 160"/>
                <a:gd name="T18" fmla="*/ 57 w 242"/>
                <a:gd name="T19" fmla="*/ 160 h 160"/>
                <a:gd name="T20" fmla="*/ 166 w 242"/>
                <a:gd name="T21" fmla="*/ 160 h 160"/>
                <a:gd name="T22" fmla="*/ 171 w 242"/>
                <a:gd name="T23" fmla="*/ 160 h 160"/>
                <a:gd name="T24" fmla="*/ 179 w 242"/>
                <a:gd name="T25" fmla="*/ 160 h 160"/>
                <a:gd name="T26" fmla="*/ 197 w 242"/>
                <a:gd name="T27" fmla="*/ 160 h 160"/>
                <a:gd name="T28" fmla="*/ 242 w 242"/>
                <a:gd name="T29" fmla="*/ 115 h 160"/>
                <a:gd name="T30" fmla="*/ 203 w 242"/>
                <a:gd name="T31" fmla="*/ 7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2" h="160">
                  <a:moveTo>
                    <a:pt x="203" y="70"/>
                  </a:moveTo>
                  <a:cubicBezTo>
                    <a:pt x="203" y="69"/>
                    <a:pt x="203" y="68"/>
                    <a:pt x="203" y="67"/>
                  </a:cubicBezTo>
                  <a:cubicBezTo>
                    <a:pt x="203" y="30"/>
                    <a:pt x="173" y="0"/>
                    <a:pt x="136" y="0"/>
                  </a:cubicBezTo>
                  <a:cubicBezTo>
                    <a:pt x="113" y="0"/>
                    <a:pt x="93" y="12"/>
                    <a:pt x="81" y="30"/>
                  </a:cubicBezTo>
                  <a:cubicBezTo>
                    <a:pt x="75" y="27"/>
                    <a:pt x="69" y="25"/>
                    <a:pt x="62" y="25"/>
                  </a:cubicBezTo>
                  <a:cubicBezTo>
                    <a:pt x="41" y="25"/>
                    <a:pt x="24" y="42"/>
                    <a:pt x="24" y="63"/>
                  </a:cubicBezTo>
                  <a:cubicBezTo>
                    <a:pt x="9" y="73"/>
                    <a:pt x="0" y="89"/>
                    <a:pt x="0" y="107"/>
                  </a:cubicBezTo>
                  <a:cubicBezTo>
                    <a:pt x="0" y="135"/>
                    <a:pt x="20" y="157"/>
                    <a:pt x="46" y="160"/>
                  </a:cubicBezTo>
                  <a:cubicBezTo>
                    <a:pt x="48" y="160"/>
                    <a:pt x="50" y="160"/>
                    <a:pt x="52" y="160"/>
                  </a:cubicBezTo>
                  <a:cubicBezTo>
                    <a:pt x="54" y="160"/>
                    <a:pt x="56" y="160"/>
                    <a:pt x="57" y="160"/>
                  </a:cubicBezTo>
                  <a:cubicBezTo>
                    <a:pt x="82" y="160"/>
                    <a:pt x="139" y="160"/>
                    <a:pt x="166" y="160"/>
                  </a:cubicBezTo>
                  <a:cubicBezTo>
                    <a:pt x="171" y="160"/>
                    <a:pt x="171" y="160"/>
                    <a:pt x="171" y="160"/>
                  </a:cubicBezTo>
                  <a:cubicBezTo>
                    <a:pt x="173" y="160"/>
                    <a:pt x="177" y="160"/>
                    <a:pt x="179" y="160"/>
                  </a:cubicBezTo>
                  <a:cubicBezTo>
                    <a:pt x="197" y="160"/>
                    <a:pt x="197" y="160"/>
                    <a:pt x="197" y="160"/>
                  </a:cubicBezTo>
                  <a:cubicBezTo>
                    <a:pt x="222" y="160"/>
                    <a:pt x="242" y="139"/>
                    <a:pt x="242" y="115"/>
                  </a:cubicBezTo>
                  <a:cubicBezTo>
                    <a:pt x="242" y="92"/>
                    <a:pt x="225" y="73"/>
                    <a:pt x="203" y="70"/>
                  </a:cubicBezTo>
                </a:path>
              </a:pathLst>
            </a:custGeom>
            <a:solidFill>
              <a:schemeClr val="bg1"/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2" name="Rectangle 81">
            <a:extLst>
              <a:ext uri="{FF2B5EF4-FFF2-40B4-BE49-F238E27FC236}">
                <a16:creationId xmlns:a16="http://schemas.microsoft.com/office/drawing/2014/main" id="{57FCFA08-84F6-4571-8D15-CACCA5FEAD35}"/>
              </a:ext>
            </a:extLst>
          </p:cNvPr>
          <p:cNvSpPr/>
          <p:nvPr/>
        </p:nvSpPr>
        <p:spPr>
          <a:xfrm>
            <a:off x="6632809" y="2213436"/>
            <a:ext cx="161614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SQL Server </a:t>
            </a:r>
            <a:r>
              <a:rPr kumimoji="0" lang="de-CH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Hyperscale</a:t>
            </a:r>
            <a:r>
              <a:rPr kumimoji="0" lang="de-CH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 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84" name="Freeform 5">
            <a:extLst>
              <a:ext uri="{FF2B5EF4-FFF2-40B4-BE49-F238E27FC236}">
                <a16:creationId xmlns:a16="http://schemas.microsoft.com/office/drawing/2014/main" id="{6166F0B6-BE5B-43A1-9BDC-72F2C641DEE7}"/>
              </a:ext>
            </a:extLst>
          </p:cNvPr>
          <p:cNvSpPr>
            <a:spLocks noEditPoints="1"/>
          </p:cNvSpPr>
          <p:nvPr/>
        </p:nvSpPr>
        <p:spPr bwMode="auto">
          <a:xfrm>
            <a:off x="9792043" y="4661939"/>
            <a:ext cx="944317" cy="627400"/>
          </a:xfrm>
          <a:custGeom>
            <a:avLst/>
            <a:gdLst>
              <a:gd name="T0" fmla="*/ 3752 w 5983"/>
              <a:gd name="T1" fmla="*/ 2549 h 4697"/>
              <a:gd name="T2" fmla="*/ 2693 w 5983"/>
              <a:gd name="T3" fmla="*/ 4063 h 4697"/>
              <a:gd name="T4" fmla="*/ 2651 w 5983"/>
              <a:gd name="T5" fmla="*/ 4087 h 4697"/>
              <a:gd name="T6" fmla="*/ 2627 w 5983"/>
              <a:gd name="T7" fmla="*/ 4081 h 4697"/>
              <a:gd name="T8" fmla="*/ 2603 w 5983"/>
              <a:gd name="T9" fmla="*/ 4021 h 4697"/>
              <a:gd name="T10" fmla="*/ 2878 w 5983"/>
              <a:gd name="T11" fmla="*/ 3117 h 4697"/>
              <a:gd name="T12" fmla="*/ 2262 w 5983"/>
              <a:gd name="T13" fmla="*/ 3117 h 4697"/>
              <a:gd name="T14" fmla="*/ 2214 w 5983"/>
              <a:gd name="T15" fmla="*/ 3087 h 4697"/>
              <a:gd name="T16" fmla="*/ 2220 w 5983"/>
              <a:gd name="T17" fmla="*/ 3034 h 4697"/>
              <a:gd name="T18" fmla="*/ 3249 w 5983"/>
              <a:gd name="T19" fmla="*/ 1538 h 4697"/>
              <a:gd name="T20" fmla="*/ 3291 w 5983"/>
              <a:gd name="T21" fmla="*/ 1514 h 4697"/>
              <a:gd name="T22" fmla="*/ 3315 w 5983"/>
              <a:gd name="T23" fmla="*/ 1520 h 4697"/>
              <a:gd name="T24" fmla="*/ 3339 w 5983"/>
              <a:gd name="T25" fmla="*/ 1580 h 4697"/>
              <a:gd name="T26" fmla="*/ 3075 w 5983"/>
              <a:gd name="T27" fmla="*/ 2465 h 4697"/>
              <a:gd name="T28" fmla="*/ 3710 w 5983"/>
              <a:gd name="T29" fmla="*/ 2465 h 4697"/>
              <a:gd name="T30" fmla="*/ 3763 w 5983"/>
              <a:gd name="T31" fmla="*/ 2519 h 4697"/>
              <a:gd name="T32" fmla="*/ 3752 w 5983"/>
              <a:gd name="T33" fmla="*/ 2549 h 4697"/>
              <a:gd name="T34" fmla="*/ 5750 w 5983"/>
              <a:gd name="T35" fmla="*/ 754 h 4697"/>
              <a:gd name="T36" fmla="*/ 0 w 5983"/>
              <a:gd name="T37" fmla="*/ 754 h 4697"/>
              <a:gd name="T38" fmla="*/ 0 w 5983"/>
              <a:gd name="T39" fmla="*/ 4326 h 4697"/>
              <a:gd name="T40" fmla="*/ 371 w 5983"/>
              <a:gd name="T41" fmla="*/ 4697 h 4697"/>
              <a:gd name="T42" fmla="*/ 5612 w 5983"/>
              <a:gd name="T43" fmla="*/ 4697 h 4697"/>
              <a:gd name="T44" fmla="*/ 5983 w 5983"/>
              <a:gd name="T45" fmla="*/ 4326 h 4697"/>
              <a:gd name="T46" fmla="*/ 5983 w 5983"/>
              <a:gd name="T47" fmla="*/ 1095 h 4697"/>
              <a:gd name="T48" fmla="*/ 5750 w 5983"/>
              <a:gd name="T49" fmla="*/ 754 h 4697"/>
              <a:gd name="T50" fmla="*/ 3536 w 5983"/>
              <a:gd name="T51" fmla="*/ 485 h 4697"/>
              <a:gd name="T52" fmla="*/ 3363 w 5983"/>
              <a:gd name="T53" fmla="*/ 186 h 4697"/>
              <a:gd name="T54" fmla="*/ 3040 w 5983"/>
              <a:gd name="T55" fmla="*/ 0 h 4697"/>
              <a:gd name="T56" fmla="*/ 371 w 5983"/>
              <a:gd name="T57" fmla="*/ 0 h 4697"/>
              <a:gd name="T58" fmla="*/ 0 w 5983"/>
              <a:gd name="T59" fmla="*/ 371 h 4697"/>
              <a:gd name="T60" fmla="*/ 0 w 5983"/>
              <a:gd name="T61" fmla="*/ 563 h 4697"/>
              <a:gd name="T62" fmla="*/ 3602 w 5983"/>
              <a:gd name="T63" fmla="*/ 563 h 4697"/>
              <a:gd name="T64" fmla="*/ 3536 w 5983"/>
              <a:gd name="T65" fmla="*/ 485 h 46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3" h="4697">
                <a:moveTo>
                  <a:pt x="3752" y="2549"/>
                </a:moveTo>
                <a:lnTo>
                  <a:pt x="2693" y="4063"/>
                </a:lnTo>
                <a:cubicBezTo>
                  <a:pt x="2681" y="4075"/>
                  <a:pt x="2669" y="4087"/>
                  <a:pt x="2651" y="4087"/>
                </a:cubicBezTo>
                <a:cubicBezTo>
                  <a:pt x="2645" y="4087"/>
                  <a:pt x="2633" y="4087"/>
                  <a:pt x="2627" y="4081"/>
                </a:cubicBezTo>
                <a:cubicBezTo>
                  <a:pt x="2603" y="4069"/>
                  <a:pt x="2591" y="4045"/>
                  <a:pt x="2603" y="4021"/>
                </a:cubicBezTo>
                <a:lnTo>
                  <a:pt x="2878" y="3117"/>
                </a:lnTo>
                <a:lnTo>
                  <a:pt x="2262" y="3117"/>
                </a:lnTo>
                <a:cubicBezTo>
                  <a:pt x="2244" y="3117"/>
                  <a:pt x="2226" y="3105"/>
                  <a:pt x="2214" y="3087"/>
                </a:cubicBezTo>
                <a:cubicBezTo>
                  <a:pt x="2208" y="3070"/>
                  <a:pt x="2208" y="3052"/>
                  <a:pt x="2220" y="3034"/>
                </a:cubicBezTo>
                <a:lnTo>
                  <a:pt x="3249" y="1538"/>
                </a:lnTo>
                <a:cubicBezTo>
                  <a:pt x="3261" y="1526"/>
                  <a:pt x="3273" y="1514"/>
                  <a:pt x="3291" y="1514"/>
                </a:cubicBezTo>
                <a:cubicBezTo>
                  <a:pt x="3297" y="1514"/>
                  <a:pt x="3303" y="1514"/>
                  <a:pt x="3315" y="1520"/>
                </a:cubicBezTo>
                <a:cubicBezTo>
                  <a:pt x="3339" y="1532"/>
                  <a:pt x="3351" y="1556"/>
                  <a:pt x="3339" y="1580"/>
                </a:cubicBezTo>
                <a:lnTo>
                  <a:pt x="3075" y="2465"/>
                </a:lnTo>
                <a:lnTo>
                  <a:pt x="3710" y="2465"/>
                </a:lnTo>
                <a:cubicBezTo>
                  <a:pt x="3740" y="2465"/>
                  <a:pt x="3763" y="2489"/>
                  <a:pt x="3763" y="2519"/>
                </a:cubicBezTo>
                <a:cubicBezTo>
                  <a:pt x="3763" y="2531"/>
                  <a:pt x="3758" y="2537"/>
                  <a:pt x="3752" y="2549"/>
                </a:cubicBezTo>
                <a:close/>
                <a:moveTo>
                  <a:pt x="5750" y="754"/>
                </a:moveTo>
                <a:lnTo>
                  <a:pt x="0" y="754"/>
                </a:lnTo>
                <a:lnTo>
                  <a:pt x="0" y="4326"/>
                </a:lnTo>
                <a:cubicBezTo>
                  <a:pt x="0" y="4529"/>
                  <a:pt x="168" y="4697"/>
                  <a:pt x="371" y="4697"/>
                </a:cubicBezTo>
                <a:lnTo>
                  <a:pt x="5612" y="4697"/>
                </a:lnTo>
                <a:cubicBezTo>
                  <a:pt x="5816" y="4697"/>
                  <a:pt x="5983" y="4529"/>
                  <a:pt x="5983" y="4326"/>
                </a:cubicBezTo>
                <a:lnTo>
                  <a:pt x="5983" y="1095"/>
                </a:lnTo>
                <a:cubicBezTo>
                  <a:pt x="5983" y="946"/>
                  <a:pt x="5887" y="814"/>
                  <a:pt x="5750" y="754"/>
                </a:cubicBezTo>
                <a:close/>
                <a:moveTo>
                  <a:pt x="3536" y="485"/>
                </a:moveTo>
                <a:lnTo>
                  <a:pt x="3363" y="186"/>
                </a:lnTo>
                <a:cubicBezTo>
                  <a:pt x="3297" y="72"/>
                  <a:pt x="3171" y="0"/>
                  <a:pt x="3040" y="0"/>
                </a:cubicBezTo>
                <a:lnTo>
                  <a:pt x="371" y="0"/>
                </a:lnTo>
                <a:cubicBezTo>
                  <a:pt x="168" y="0"/>
                  <a:pt x="0" y="168"/>
                  <a:pt x="0" y="371"/>
                </a:cubicBezTo>
                <a:lnTo>
                  <a:pt x="0" y="563"/>
                </a:lnTo>
                <a:lnTo>
                  <a:pt x="3602" y="563"/>
                </a:lnTo>
                <a:cubicBezTo>
                  <a:pt x="3572" y="545"/>
                  <a:pt x="3554" y="515"/>
                  <a:pt x="3536" y="485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4702" tIns="37351" rIns="74702" bIns="37351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896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id="{85B87B91-A531-44A5-AA68-AE4E9541458E}"/>
              </a:ext>
            </a:extLst>
          </p:cNvPr>
          <p:cNvGrpSpPr/>
          <p:nvPr/>
        </p:nvGrpSpPr>
        <p:grpSpPr>
          <a:xfrm>
            <a:off x="5869750" y="4693129"/>
            <a:ext cx="649191" cy="481231"/>
            <a:chOff x="1358900" y="3878269"/>
            <a:chExt cx="1638300" cy="1214439"/>
          </a:xfrm>
        </p:grpSpPr>
        <p:sp>
          <p:nvSpPr>
            <p:cNvPr id="86" name="Freeform 41">
              <a:extLst>
                <a:ext uri="{FF2B5EF4-FFF2-40B4-BE49-F238E27FC236}">
                  <a16:creationId xmlns:a16="http://schemas.microsoft.com/office/drawing/2014/main" id="{683D645A-7162-4DA0-B689-641917F9A4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6363" y="3897315"/>
              <a:ext cx="1606551" cy="1179515"/>
            </a:xfrm>
            <a:custGeom>
              <a:avLst/>
              <a:gdLst>
                <a:gd name="T0" fmla="*/ 5241 w 15187"/>
                <a:gd name="T1" fmla="*/ 9710 h 11142"/>
                <a:gd name="T2" fmla="*/ 5233 w 15187"/>
                <a:gd name="T3" fmla="*/ 9178 h 11142"/>
                <a:gd name="T4" fmla="*/ 4434 w 15187"/>
                <a:gd name="T5" fmla="*/ 9449 h 11142"/>
                <a:gd name="T6" fmla="*/ 3641 w 15187"/>
                <a:gd name="T7" fmla="*/ 11126 h 11142"/>
                <a:gd name="T8" fmla="*/ 1789 w 15187"/>
                <a:gd name="T9" fmla="*/ 10455 h 11142"/>
                <a:gd name="T10" fmla="*/ 1450 w 15187"/>
                <a:gd name="T11" fmla="*/ 9774 h 11142"/>
                <a:gd name="T12" fmla="*/ 225 w 15187"/>
                <a:gd name="T13" fmla="*/ 8805 h 11142"/>
                <a:gd name="T14" fmla="*/ 275 w 15187"/>
                <a:gd name="T15" fmla="*/ 8036 h 11142"/>
                <a:gd name="T16" fmla="*/ 1064 w 15187"/>
                <a:gd name="T17" fmla="*/ 5894 h 11142"/>
                <a:gd name="T18" fmla="*/ 587 w 15187"/>
                <a:gd name="T19" fmla="*/ 5637 h 11142"/>
                <a:gd name="T20" fmla="*/ 0 w 15187"/>
                <a:gd name="T21" fmla="*/ 4241 h 11142"/>
                <a:gd name="T22" fmla="*/ 737 w 15187"/>
                <a:gd name="T23" fmla="*/ 3467 h 11142"/>
                <a:gd name="T24" fmla="*/ 967 w 15187"/>
                <a:gd name="T25" fmla="*/ 3962 h 11142"/>
                <a:gd name="T26" fmla="*/ 1235 w 15187"/>
                <a:gd name="T27" fmla="*/ 4658 h 11142"/>
                <a:gd name="T28" fmla="*/ 2180 w 15187"/>
                <a:gd name="T29" fmla="*/ 3525 h 11142"/>
                <a:gd name="T30" fmla="*/ 4772 w 15187"/>
                <a:gd name="T31" fmla="*/ 2368 h 11142"/>
                <a:gd name="T32" fmla="*/ 4796 w 15187"/>
                <a:gd name="T33" fmla="*/ 2366 h 11142"/>
                <a:gd name="T34" fmla="*/ 5902 w 15187"/>
                <a:gd name="T35" fmla="*/ 1584 h 11142"/>
                <a:gd name="T36" fmla="*/ 7475 w 15187"/>
                <a:gd name="T37" fmla="*/ 320 h 11142"/>
                <a:gd name="T38" fmla="*/ 10463 w 15187"/>
                <a:gd name="T39" fmla="*/ 444 h 11142"/>
                <a:gd name="T40" fmla="*/ 12229 w 15187"/>
                <a:gd name="T41" fmla="*/ 2322 h 11142"/>
                <a:gd name="T42" fmla="*/ 11919 w 15187"/>
                <a:gd name="T43" fmla="*/ 2784 h 11142"/>
                <a:gd name="T44" fmla="*/ 12748 w 15187"/>
                <a:gd name="T45" fmla="*/ 1952 h 11142"/>
                <a:gd name="T46" fmla="*/ 12808 w 15187"/>
                <a:gd name="T47" fmla="*/ 1312 h 11142"/>
                <a:gd name="T48" fmla="*/ 14117 w 15187"/>
                <a:gd name="T49" fmla="*/ 374 h 11142"/>
                <a:gd name="T50" fmla="*/ 15054 w 15187"/>
                <a:gd name="T51" fmla="*/ 1820 h 11142"/>
                <a:gd name="T52" fmla="*/ 15074 w 15187"/>
                <a:gd name="T53" fmla="*/ 4582 h 11142"/>
                <a:gd name="T54" fmla="*/ 13760 w 15187"/>
                <a:gd name="T55" fmla="*/ 6707 h 11142"/>
                <a:gd name="T56" fmla="*/ 11787 w 15187"/>
                <a:gd name="T57" fmla="*/ 6939 h 11142"/>
                <a:gd name="T58" fmla="*/ 11079 w 15187"/>
                <a:gd name="T59" fmla="*/ 7951 h 11142"/>
                <a:gd name="T60" fmla="*/ 9991 w 15187"/>
                <a:gd name="T61" fmla="*/ 7940 h 11142"/>
                <a:gd name="T62" fmla="*/ 9225 w 15187"/>
                <a:gd name="T63" fmla="*/ 7666 h 11142"/>
                <a:gd name="T64" fmla="*/ 9246 w 15187"/>
                <a:gd name="T65" fmla="*/ 7826 h 11142"/>
                <a:gd name="T66" fmla="*/ 9561 w 15187"/>
                <a:gd name="T67" fmla="*/ 8267 h 11142"/>
                <a:gd name="T68" fmla="*/ 9893 w 15187"/>
                <a:gd name="T69" fmla="*/ 9776 h 11142"/>
                <a:gd name="T70" fmla="*/ 9523 w 15187"/>
                <a:gd name="T71" fmla="*/ 10699 h 11142"/>
                <a:gd name="T72" fmla="*/ 8033 w 15187"/>
                <a:gd name="T73" fmla="*/ 10573 h 11142"/>
                <a:gd name="T74" fmla="*/ 7942 w 15187"/>
                <a:gd name="T75" fmla="*/ 10378 h 11142"/>
                <a:gd name="T76" fmla="*/ 7218 w 15187"/>
                <a:gd name="T77" fmla="*/ 10650 h 11142"/>
                <a:gd name="T78" fmla="*/ 5285 w 15187"/>
                <a:gd name="T79" fmla="*/ 10028 h 11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187" h="11142">
                  <a:moveTo>
                    <a:pt x="5285" y="10028"/>
                  </a:moveTo>
                  <a:lnTo>
                    <a:pt x="5241" y="9710"/>
                  </a:lnTo>
                  <a:lnTo>
                    <a:pt x="5370" y="9432"/>
                  </a:lnTo>
                  <a:lnTo>
                    <a:pt x="5233" y="9178"/>
                  </a:lnTo>
                  <a:lnTo>
                    <a:pt x="4621" y="9040"/>
                  </a:lnTo>
                  <a:lnTo>
                    <a:pt x="4434" y="9449"/>
                  </a:lnTo>
                  <a:lnTo>
                    <a:pt x="3963" y="10867"/>
                  </a:lnTo>
                  <a:lnTo>
                    <a:pt x="3641" y="11126"/>
                  </a:lnTo>
                  <a:lnTo>
                    <a:pt x="2596" y="10940"/>
                  </a:lnTo>
                  <a:lnTo>
                    <a:pt x="1789" y="10455"/>
                  </a:lnTo>
                  <a:lnTo>
                    <a:pt x="1960" y="9717"/>
                  </a:lnTo>
                  <a:lnTo>
                    <a:pt x="1450" y="9774"/>
                  </a:lnTo>
                  <a:lnTo>
                    <a:pt x="575" y="9268"/>
                  </a:lnTo>
                  <a:lnTo>
                    <a:pt x="225" y="8805"/>
                  </a:lnTo>
                  <a:lnTo>
                    <a:pt x="214" y="8787"/>
                  </a:lnTo>
                  <a:lnTo>
                    <a:pt x="275" y="8036"/>
                  </a:lnTo>
                  <a:lnTo>
                    <a:pt x="1041" y="7093"/>
                  </a:lnTo>
                  <a:lnTo>
                    <a:pt x="1064" y="5894"/>
                  </a:lnTo>
                  <a:lnTo>
                    <a:pt x="902" y="5720"/>
                  </a:lnTo>
                  <a:lnTo>
                    <a:pt x="587" y="5637"/>
                  </a:lnTo>
                  <a:lnTo>
                    <a:pt x="95" y="4814"/>
                  </a:lnTo>
                  <a:lnTo>
                    <a:pt x="0" y="4241"/>
                  </a:lnTo>
                  <a:lnTo>
                    <a:pt x="725" y="3473"/>
                  </a:lnTo>
                  <a:lnTo>
                    <a:pt x="737" y="3467"/>
                  </a:lnTo>
                  <a:lnTo>
                    <a:pt x="1357" y="3094"/>
                  </a:lnTo>
                  <a:lnTo>
                    <a:pt x="967" y="3962"/>
                  </a:lnTo>
                  <a:lnTo>
                    <a:pt x="958" y="4542"/>
                  </a:lnTo>
                  <a:lnTo>
                    <a:pt x="1235" y="4658"/>
                  </a:lnTo>
                  <a:lnTo>
                    <a:pt x="1557" y="4271"/>
                  </a:lnTo>
                  <a:lnTo>
                    <a:pt x="2180" y="3525"/>
                  </a:lnTo>
                  <a:lnTo>
                    <a:pt x="3357" y="2764"/>
                  </a:lnTo>
                  <a:lnTo>
                    <a:pt x="4772" y="2368"/>
                  </a:lnTo>
                  <a:lnTo>
                    <a:pt x="4775" y="2368"/>
                  </a:lnTo>
                  <a:lnTo>
                    <a:pt x="4796" y="2366"/>
                  </a:lnTo>
                  <a:lnTo>
                    <a:pt x="5235" y="2245"/>
                  </a:lnTo>
                  <a:lnTo>
                    <a:pt x="5902" y="1584"/>
                  </a:lnTo>
                  <a:lnTo>
                    <a:pt x="6314" y="1487"/>
                  </a:lnTo>
                  <a:lnTo>
                    <a:pt x="7475" y="320"/>
                  </a:lnTo>
                  <a:lnTo>
                    <a:pt x="9153" y="0"/>
                  </a:lnTo>
                  <a:lnTo>
                    <a:pt x="10463" y="444"/>
                  </a:lnTo>
                  <a:lnTo>
                    <a:pt x="11733" y="1687"/>
                  </a:lnTo>
                  <a:lnTo>
                    <a:pt x="12229" y="2322"/>
                  </a:lnTo>
                  <a:lnTo>
                    <a:pt x="12086" y="2641"/>
                  </a:lnTo>
                  <a:lnTo>
                    <a:pt x="11919" y="2784"/>
                  </a:lnTo>
                  <a:lnTo>
                    <a:pt x="12928" y="3514"/>
                  </a:lnTo>
                  <a:lnTo>
                    <a:pt x="12748" y="1952"/>
                  </a:lnTo>
                  <a:lnTo>
                    <a:pt x="12797" y="1323"/>
                  </a:lnTo>
                  <a:lnTo>
                    <a:pt x="12808" y="1312"/>
                  </a:lnTo>
                  <a:lnTo>
                    <a:pt x="14099" y="374"/>
                  </a:lnTo>
                  <a:lnTo>
                    <a:pt x="14117" y="374"/>
                  </a:lnTo>
                  <a:lnTo>
                    <a:pt x="14715" y="690"/>
                  </a:lnTo>
                  <a:lnTo>
                    <a:pt x="15054" y="1820"/>
                  </a:lnTo>
                  <a:lnTo>
                    <a:pt x="15187" y="2929"/>
                  </a:lnTo>
                  <a:lnTo>
                    <a:pt x="15074" y="4582"/>
                  </a:lnTo>
                  <a:lnTo>
                    <a:pt x="14612" y="5722"/>
                  </a:lnTo>
                  <a:lnTo>
                    <a:pt x="13760" y="6707"/>
                  </a:lnTo>
                  <a:lnTo>
                    <a:pt x="12558" y="7029"/>
                  </a:lnTo>
                  <a:lnTo>
                    <a:pt x="11787" y="6939"/>
                  </a:lnTo>
                  <a:lnTo>
                    <a:pt x="11439" y="7550"/>
                  </a:lnTo>
                  <a:lnTo>
                    <a:pt x="11079" y="7951"/>
                  </a:lnTo>
                  <a:lnTo>
                    <a:pt x="10469" y="8057"/>
                  </a:lnTo>
                  <a:lnTo>
                    <a:pt x="9991" y="7940"/>
                  </a:lnTo>
                  <a:lnTo>
                    <a:pt x="9483" y="7596"/>
                  </a:lnTo>
                  <a:lnTo>
                    <a:pt x="9225" y="7666"/>
                  </a:lnTo>
                  <a:lnTo>
                    <a:pt x="9222" y="7674"/>
                  </a:lnTo>
                  <a:lnTo>
                    <a:pt x="9246" y="7826"/>
                  </a:lnTo>
                  <a:lnTo>
                    <a:pt x="9489" y="8150"/>
                  </a:lnTo>
                  <a:lnTo>
                    <a:pt x="9561" y="8267"/>
                  </a:lnTo>
                  <a:lnTo>
                    <a:pt x="9838" y="8848"/>
                  </a:lnTo>
                  <a:lnTo>
                    <a:pt x="9893" y="9776"/>
                  </a:lnTo>
                  <a:lnTo>
                    <a:pt x="10032" y="10435"/>
                  </a:lnTo>
                  <a:lnTo>
                    <a:pt x="9523" y="10699"/>
                  </a:lnTo>
                  <a:lnTo>
                    <a:pt x="8339" y="10696"/>
                  </a:lnTo>
                  <a:lnTo>
                    <a:pt x="8033" y="10573"/>
                  </a:lnTo>
                  <a:lnTo>
                    <a:pt x="8018" y="10556"/>
                  </a:lnTo>
                  <a:lnTo>
                    <a:pt x="7942" y="10378"/>
                  </a:lnTo>
                  <a:lnTo>
                    <a:pt x="7674" y="10271"/>
                  </a:lnTo>
                  <a:lnTo>
                    <a:pt x="7218" y="10650"/>
                  </a:lnTo>
                  <a:lnTo>
                    <a:pt x="6386" y="11142"/>
                  </a:lnTo>
                  <a:lnTo>
                    <a:pt x="5285" y="10028"/>
                  </a:lnTo>
                  <a:close/>
                </a:path>
              </a:pathLst>
            </a:custGeom>
            <a:solidFill>
              <a:srgbClr val="FAD1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" name="Freeform 42">
              <a:extLst>
                <a:ext uri="{FF2B5EF4-FFF2-40B4-BE49-F238E27FC236}">
                  <a16:creationId xmlns:a16="http://schemas.microsoft.com/office/drawing/2014/main" id="{0470A6F2-D995-454B-9778-519914BC87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6363" y="4618040"/>
              <a:ext cx="246061" cy="330199"/>
            </a:xfrm>
            <a:custGeom>
              <a:avLst/>
              <a:gdLst>
                <a:gd name="T0" fmla="*/ 363 w 2335"/>
                <a:gd name="T1" fmla="*/ 2397 h 3120"/>
                <a:gd name="T2" fmla="*/ 250 w 2335"/>
                <a:gd name="T3" fmla="*/ 2251 h 3120"/>
                <a:gd name="T4" fmla="*/ 168 w 2335"/>
                <a:gd name="T5" fmla="*/ 2133 h 3120"/>
                <a:gd name="T6" fmla="*/ 122 w 2335"/>
                <a:gd name="T7" fmla="*/ 2060 h 3120"/>
                <a:gd name="T8" fmla="*/ 40 w 2335"/>
                <a:gd name="T9" fmla="*/ 1892 h 3120"/>
                <a:gd name="T10" fmla="*/ 5 w 2335"/>
                <a:gd name="T11" fmla="*/ 1733 h 3120"/>
                <a:gd name="T12" fmla="*/ 3 w 2335"/>
                <a:gd name="T13" fmla="*/ 1613 h 3120"/>
                <a:gd name="T14" fmla="*/ 20 w 2335"/>
                <a:gd name="T15" fmla="*/ 1485 h 3120"/>
                <a:gd name="T16" fmla="*/ 63 w 2335"/>
                <a:gd name="T17" fmla="*/ 1347 h 3120"/>
                <a:gd name="T18" fmla="*/ 136 w 2335"/>
                <a:gd name="T19" fmla="*/ 1200 h 3120"/>
                <a:gd name="T20" fmla="*/ 264 w 2335"/>
                <a:gd name="T21" fmla="*/ 1014 h 3120"/>
                <a:gd name="T22" fmla="*/ 411 w 2335"/>
                <a:gd name="T23" fmla="*/ 815 h 3120"/>
                <a:gd name="T24" fmla="*/ 625 w 2335"/>
                <a:gd name="T25" fmla="*/ 551 h 3120"/>
                <a:gd name="T26" fmla="*/ 1110 w 2335"/>
                <a:gd name="T27" fmla="*/ 0 h 3120"/>
                <a:gd name="T28" fmla="*/ 1021 w 2335"/>
                <a:gd name="T29" fmla="*/ 632 h 3120"/>
                <a:gd name="T30" fmla="*/ 993 w 2335"/>
                <a:gd name="T31" fmla="*/ 666 h 3120"/>
                <a:gd name="T32" fmla="*/ 940 w 2335"/>
                <a:gd name="T33" fmla="*/ 730 h 3120"/>
                <a:gd name="T34" fmla="*/ 868 w 2335"/>
                <a:gd name="T35" fmla="*/ 815 h 3120"/>
                <a:gd name="T36" fmla="*/ 691 w 2335"/>
                <a:gd name="T37" fmla="*/ 1029 h 3120"/>
                <a:gd name="T38" fmla="*/ 507 w 2335"/>
                <a:gd name="T39" fmla="*/ 1258 h 3120"/>
                <a:gd name="T40" fmla="*/ 412 w 2335"/>
                <a:gd name="T41" fmla="*/ 1397 h 3120"/>
                <a:gd name="T42" fmla="*/ 370 w 2335"/>
                <a:gd name="T43" fmla="*/ 1498 h 3120"/>
                <a:gd name="T44" fmla="*/ 350 w 2335"/>
                <a:gd name="T45" fmla="*/ 1587 h 3120"/>
                <a:gd name="T46" fmla="*/ 358 w 2335"/>
                <a:gd name="T47" fmla="*/ 1709 h 3120"/>
                <a:gd name="T48" fmla="*/ 390 w 2335"/>
                <a:gd name="T49" fmla="*/ 1792 h 3120"/>
                <a:gd name="T50" fmla="*/ 401 w 2335"/>
                <a:gd name="T51" fmla="*/ 1809 h 3120"/>
                <a:gd name="T52" fmla="*/ 404 w 2335"/>
                <a:gd name="T53" fmla="*/ 1813 h 3120"/>
                <a:gd name="T54" fmla="*/ 418 w 2335"/>
                <a:gd name="T55" fmla="*/ 1833 h 3120"/>
                <a:gd name="T56" fmla="*/ 460 w 2335"/>
                <a:gd name="T57" fmla="*/ 1895 h 3120"/>
                <a:gd name="T58" fmla="*/ 555 w 2335"/>
                <a:gd name="T59" fmla="*/ 2020 h 3120"/>
                <a:gd name="T60" fmla="*/ 684 w 2335"/>
                <a:gd name="T61" fmla="*/ 2179 h 3120"/>
                <a:gd name="T62" fmla="*/ 839 w 2335"/>
                <a:gd name="T63" fmla="*/ 2347 h 3120"/>
                <a:gd name="T64" fmla="*/ 1011 w 2335"/>
                <a:gd name="T65" fmla="*/ 2505 h 3120"/>
                <a:gd name="T66" fmla="*/ 1192 w 2335"/>
                <a:gd name="T67" fmla="*/ 2631 h 3120"/>
                <a:gd name="T68" fmla="*/ 1329 w 2335"/>
                <a:gd name="T69" fmla="*/ 2693 h 3120"/>
                <a:gd name="T70" fmla="*/ 1418 w 2335"/>
                <a:gd name="T71" fmla="*/ 2712 h 3120"/>
                <a:gd name="T72" fmla="*/ 1581 w 2335"/>
                <a:gd name="T73" fmla="*/ 2713 h 3120"/>
                <a:gd name="T74" fmla="*/ 1680 w 2335"/>
                <a:gd name="T75" fmla="*/ 2691 h 3120"/>
                <a:gd name="T76" fmla="*/ 1771 w 2335"/>
                <a:gd name="T77" fmla="*/ 2642 h 3120"/>
                <a:gd name="T78" fmla="*/ 1875 w 2335"/>
                <a:gd name="T79" fmla="*/ 2556 h 3120"/>
                <a:gd name="T80" fmla="*/ 2029 w 2335"/>
                <a:gd name="T81" fmla="*/ 2386 h 3120"/>
                <a:gd name="T82" fmla="*/ 2173 w 2335"/>
                <a:gd name="T83" fmla="*/ 2220 h 3120"/>
                <a:gd name="T84" fmla="*/ 2241 w 2335"/>
                <a:gd name="T85" fmla="*/ 2559 h 3120"/>
                <a:gd name="T86" fmla="*/ 2212 w 2335"/>
                <a:gd name="T87" fmla="*/ 2604 h 3120"/>
                <a:gd name="T88" fmla="*/ 2146 w 2335"/>
                <a:gd name="T89" fmla="*/ 2704 h 3120"/>
                <a:gd name="T90" fmla="*/ 2018 w 2335"/>
                <a:gd name="T91" fmla="*/ 2865 h 3120"/>
                <a:gd name="T92" fmla="*/ 1842 w 2335"/>
                <a:gd name="T93" fmla="*/ 3013 h 3120"/>
                <a:gd name="T94" fmla="*/ 1737 w 2335"/>
                <a:gd name="T95" fmla="*/ 3069 h 3120"/>
                <a:gd name="T96" fmla="*/ 1634 w 2335"/>
                <a:gd name="T97" fmla="*/ 3107 h 3120"/>
                <a:gd name="T98" fmla="*/ 1540 w 2335"/>
                <a:gd name="T99" fmla="*/ 3119 h 3120"/>
                <a:gd name="T100" fmla="*/ 1404 w 2335"/>
                <a:gd name="T101" fmla="*/ 3115 h 3120"/>
                <a:gd name="T102" fmla="*/ 1285 w 2335"/>
                <a:gd name="T103" fmla="*/ 3093 h 3120"/>
                <a:gd name="T104" fmla="*/ 1162 w 2335"/>
                <a:gd name="T105" fmla="*/ 3053 h 3120"/>
                <a:gd name="T106" fmla="*/ 1038 w 2335"/>
                <a:gd name="T107" fmla="*/ 2997 h 3120"/>
                <a:gd name="T108" fmla="*/ 912 w 2335"/>
                <a:gd name="T109" fmla="*/ 2922 h 3120"/>
                <a:gd name="T110" fmla="*/ 784 w 2335"/>
                <a:gd name="T111" fmla="*/ 2830 h 3120"/>
                <a:gd name="T112" fmla="*/ 656 w 2335"/>
                <a:gd name="T113" fmla="*/ 2721 h 3120"/>
                <a:gd name="T114" fmla="*/ 528 w 2335"/>
                <a:gd name="T115" fmla="*/ 2593 h 3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335" h="3120">
                  <a:moveTo>
                    <a:pt x="496" y="2559"/>
                  </a:moveTo>
                  <a:lnTo>
                    <a:pt x="427" y="2478"/>
                  </a:lnTo>
                  <a:lnTo>
                    <a:pt x="395" y="2437"/>
                  </a:lnTo>
                  <a:lnTo>
                    <a:pt x="363" y="2397"/>
                  </a:lnTo>
                  <a:lnTo>
                    <a:pt x="333" y="2359"/>
                  </a:lnTo>
                  <a:lnTo>
                    <a:pt x="304" y="2322"/>
                  </a:lnTo>
                  <a:lnTo>
                    <a:pt x="276" y="2286"/>
                  </a:lnTo>
                  <a:lnTo>
                    <a:pt x="250" y="2251"/>
                  </a:lnTo>
                  <a:lnTo>
                    <a:pt x="227" y="2218"/>
                  </a:lnTo>
                  <a:lnTo>
                    <a:pt x="205" y="2188"/>
                  </a:lnTo>
                  <a:lnTo>
                    <a:pt x="185" y="2159"/>
                  </a:lnTo>
                  <a:lnTo>
                    <a:pt x="168" y="2133"/>
                  </a:lnTo>
                  <a:lnTo>
                    <a:pt x="152" y="2111"/>
                  </a:lnTo>
                  <a:lnTo>
                    <a:pt x="140" y="2090"/>
                  </a:lnTo>
                  <a:lnTo>
                    <a:pt x="130" y="2074"/>
                  </a:lnTo>
                  <a:lnTo>
                    <a:pt x="122" y="2060"/>
                  </a:lnTo>
                  <a:lnTo>
                    <a:pt x="100" y="2023"/>
                  </a:lnTo>
                  <a:lnTo>
                    <a:pt x="77" y="1983"/>
                  </a:lnTo>
                  <a:lnTo>
                    <a:pt x="57" y="1939"/>
                  </a:lnTo>
                  <a:lnTo>
                    <a:pt x="40" y="1892"/>
                  </a:lnTo>
                  <a:lnTo>
                    <a:pt x="24" y="1842"/>
                  </a:lnTo>
                  <a:lnTo>
                    <a:pt x="13" y="1789"/>
                  </a:lnTo>
                  <a:lnTo>
                    <a:pt x="9" y="1762"/>
                  </a:lnTo>
                  <a:lnTo>
                    <a:pt x="5" y="1733"/>
                  </a:lnTo>
                  <a:lnTo>
                    <a:pt x="3" y="1704"/>
                  </a:lnTo>
                  <a:lnTo>
                    <a:pt x="1" y="1675"/>
                  </a:lnTo>
                  <a:lnTo>
                    <a:pt x="0" y="1644"/>
                  </a:lnTo>
                  <a:lnTo>
                    <a:pt x="3" y="1613"/>
                  </a:lnTo>
                  <a:lnTo>
                    <a:pt x="5" y="1582"/>
                  </a:lnTo>
                  <a:lnTo>
                    <a:pt x="9" y="1549"/>
                  </a:lnTo>
                  <a:lnTo>
                    <a:pt x="14" y="1518"/>
                  </a:lnTo>
                  <a:lnTo>
                    <a:pt x="20" y="1485"/>
                  </a:lnTo>
                  <a:lnTo>
                    <a:pt x="28" y="1451"/>
                  </a:lnTo>
                  <a:lnTo>
                    <a:pt x="39" y="1417"/>
                  </a:lnTo>
                  <a:lnTo>
                    <a:pt x="50" y="1382"/>
                  </a:lnTo>
                  <a:lnTo>
                    <a:pt x="63" y="1347"/>
                  </a:lnTo>
                  <a:lnTo>
                    <a:pt x="79" y="1310"/>
                  </a:lnTo>
                  <a:lnTo>
                    <a:pt x="95" y="1274"/>
                  </a:lnTo>
                  <a:lnTo>
                    <a:pt x="115" y="1237"/>
                  </a:lnTo>
                  <a:lnTo>
                    <a:pt x="136" y="1200"/>
                  </a:lnTo>
                  <a:lnTo>
                    <a:pt x="158" y="1163"/>
                  </a:lnTo>
                  <a:lnTo>
                    <a:pt x="184" y="1125"/>
                  </a:lnTo>
                  <a:lnTo>
                    <a:pt x="224" y="1068"/>
                  </a:lnTo>
                  <a:lnTo>
                    <a:pt x="264" y="1014"/>
                  </a:lnTo>
                  <a:lnTo>
                    <a:pt x="302" y="961"/>
                  </a:lnTo>
                  <a:lnTo>
                    <a:pt x="339" y="911"/>
                  </a:lnTo>
                  <a:lnTo>
                    <a:pt x="375" y="861"/>
                  </a:lnTo>
                  <a:lnTo>
                    <a:pt x="411" y="815"/>
                  </a:lnTo>
                  <a:lnTo>
                    <a:pt x="447" y="769"/>
                  </a:lnTo>
                  <a:lnTo>
                    <a:pt x="483" y="723"/>
                  </a:lnTo>
                  <a:lnTo>
                    <a:pt x="554" y="637"/>
                  </a:lnTo>
                  <a:lnTo>
                    <a:pt x="625" y="551"/>
                  </a:lnTo>
                  <a:lnTo>
                    <a:pt x="699" y="465"/>
                  </a:lnTo>
                  <a:lnTo>
                    <a:pt x="738" y="422"/>
                  </a:lnTo>
                  <a:lnTo>
                    <a:pt x="776" y="377"/>
                  </a:lnTo>
                  <a:lnTo>
                    <a:pt x="1110" y="0"/>
                  </a:lnTo>
                  <a:lnTo>
                    <a:pt x="1277" y="433"/>
                  </a:lnTo>
                  <a:lnTo>
                    <a:pt x="1026" y="627"/>
                  </a:lnTo>
                  <a:lnTo>
                    <a:pt x="1025" y="628"/>
                  </a:lnTo>
                  <a:lnTo>
                    <a:pt x="1021" y="632"/>
                  </a:lnTo>
                  <a:lnTo>
                    <a:pt x="1017" y="637"/>
                  </a:lnTo>
                  <a:lnTo>
                    <a:pt x="1011" y="645"/>
                  </a:lnTo>
                  <a:lnTo>
                    <a:pt x="1003" y="654"/>
                  </a:lnTo>
                  <a:lnTo>
                    <a:pt x="993" y="666"/>
                  </a:lnTo>
                  <a:lnTo>
                    <a:pt x="981" y="679"/>
                  </a:lnTo>
                  <a:lnTo>
                    <a:pt x="969" y="695"/>
                  </a:lnTo>
                  <a:lnTo>
                    <a:pt x="954" y="711"/>
                  </a:lnTo>
                  <a:lnTo>
                    <a:pt x="940" y="730"/>
                  </a:lnTo>
                  <a:lnTo>
                    <a:pt x="923" y="749"/>
                  </a:lnTo>
                  <a:lnTo>
                    <a:pt x="906" y="770"/>
                  </a:lnTo>
                  <a:lnTo>
                    <a:pt x="887" y="792"/>
                  </a:lnTo>
                  <a:lnTo>
                    <a:pt x="868" y="815"/>
                  </a:lnTo>
                  <a:lnTo>
                    <a:pt x="827" y="864"/>
                  </a:lnTo>
                  <a:lnTo>
                    <a:pt x="783" y="917"/>
                  </a:lnTo>
                  <a:lnTo>
                    <a:pt x="738" y="973"/>
                  </a:lnTo>
                  <a:lnTo>
                    <a:pt x="691" y="1029"/>
                  </a:lnTo>
                  <a:lnTo>
                    <a:pt x="645" y="1087"/>
                  </a:lnTo>
                  <a:lnTo>
                    <a:pt x="597" y="1145"/>
                  </a:lnTo>
                  <a:lnTo>
                    <a:pt x="552" y="1202"/>
                  </a:lnTo>
                  <a:lnTo>
                    <a:pt x="507" y="1258"/>
                  </a:lnTo>
                  <a:lnTo>
                    <a:pt x="465" y="1313"/>
                  </a:lnTo>
                  <a:lnTo>
                    <a:pt x="445" y="1341"/>
                  </a:lnTo>
                  <a:lnTo>
                    <a:pt x="428" y="1369"/>
                  </a:lnTo>
                  <a:lnTo>
                    <a:pt x="412" y="1397"/>
                  </a:lnTo>
                  <a:lnTo>
                    <a:pt x="399" y="1423"/>
                  </a:lnTo>
                  <a:lnTo>
                    <a:pt x="388" y="1448"/>
                  </a:lnTo>
                  <a:lnTo>
                    <a:pt x="378" y="1474"/>
                  </a:lnTo>
                  <a:lnTo>
                    <a:pt x="370" y="1498"/>
                  </a:lnTo>
                  <a:lnTo>
                    <a:pt x="363" y="1522"/>
                  </a:lnTo>
                  <a:lnTo>
                    <a:pt x="358" y="1544"/>
                  </a:lnTo>
                  <a:lnTo>
                    <a:pt x="354" y="1566"/>
                  </a:lnTo>
                  <a:lnTo>
                    <a:pt x="350" y="1587"/>
                  </a:lnTo>
                  <a:lnTo>
                    <a:pt x="349" y="1607"/>
                  </a:lnTo>
                  <a:lnTo>
                    <a:pt x="348" y="1644"/>
                  </a:lnTo>
                  <a:lnTo>
                    <a:pt x="351" y="1678"/>
                  </a:lnTo>
                  <a:lnTo>
                    <a:pt x="358" y="1709"/>
                  </a:lnTo>
                  <a:lnTo>
                    <a:pt x="365" y="1735"/>
                  </a:lnTo>
                  <a:lnTo>
                    <a:pt x="373" y="1758"/>
                  </a:lnTo>
                  <a:lnTo>
                    <a:pt x="381" y="1777"/>
                  </a:lnTo>
                  <a:lnTo>
                    <a:pt x="390" y="1792"/>
                  </a:lnTo>
                  <a:lnTo>
                    <a:pt x="393" y="1798"/>
                  </a:lnTo>
                  <a:lnTo>
                    <a:pt x="396" y="1802"/>
                  </a:lnTo>
                  <a:lnTo>
                    <a:pt x="399" y="1806"/>
                  </a:lnTo>
                  <a:lnTo>
                    <a:pt x="401" y="1809"/>
                  </a:lnTo>
                  <a:lnTo>
                    <a:pt x="402" y="1810"/>
                  </a:lnTo>
                  <a:lnTo>
                    <a:pt x="402" y="1811"/>
                  </a:lnTo>
                  <a:lnTo>
                    <a:pt x="403" y="1811"/>
                  </a:lnTo>
                  <a:lnTo>
                    <a:pt x="404" y="1813"/>
                  </a:lnTo>
                  <a:lnTo>
                    <a:pt x="406" y="1816"/>
                  </a:lnTo>
                  <a:lnTo>
                    <a:pt x="409" y="1821"/>
                  </a:lnTo>
                  <a:lnTo>
                    <a:pt x="413" y="1827"/>
                  </a:lnTo>
                  <a:lnTo>
                    <a:pt x="418" y="1833"/>
                  </a:lnTo>
                  <a:lnTo>
                    <a:pt x="423" y="1841"/>
                  </a:lnTo>
                  <a:lnTo>
                    <a:pt x="429" y="1849"/>
                  </a:lnTo>
                  <a:lnTo>
                    <a:pt x="443" y="1870"/>
                  </a:lnTo>
                  <a:lnTo>
                    <a:pt x="460" y="1895"/>
                  </a:lnTo>
                  <a:lnTo>
                    <a:pt x="480" y="1921"/>
                  </a:lnTo>
                  <a:lnTo>
                    <a:pt x="502" y="1952"/>
                  </a:lnTo>
                  <a:lnTo>
                    <a:pt x="528" y="1985"/>
                  </a:lnTo>
                  <a:lnTo>
                    <a:pt x="555" y="2020"/>
                  </a:lnTo>
                  <a:lnTo>
                    <a:pt x="584" y="2058"/>
                  </a:lnTo>
                  <a:lnTo>
                    <a:pt x="616" y="2096"/>
                  </a:lnTo>
                  <a:lnTo>
                    <a:pt x="649" y="2138"/>
                  </a:lnTo>
                  <a:lnTo>
                    <a:pt x="684" y="2179"/>
                  </a:lnTo>
                  <a:lnTo>
                    <a:pt x="720" y="2220"/>
                  </a:lnTo>
                  <a:lnTo>
                    <a:pt x="758" y="2263"/>
                  </a:lnTo>
                  <a:lnTo>
                    <a:pt x="797" y="2305"/>
                  </a:lnTo>
                  <a:lnTo>
                    <a:pt x="839" y="2347"/>
                  </a:lnTo>
                  <a:lnTo>
                    <a:pt x="880" y="2388"/>
                  </a:lnTo>
                  <a:lnTo>
                    <a:pt x="922" y="2429"/>
                  </a:lnTo>
                  <a:lnTo>
                    <a:pt x="967" y="2468"/>
                  </a:lnTo>
                  <a:lnTo>
                    <a:pt x="1011" y="2505"/>
                  </a:lnTo>
                  <a:lnTo>
                    <a:pt x="1055" y="2540"/>
                  </a:lnTo>
                  <a:lnTo>
                    <a:pt x="1101" y="2573"/>
                  </a:lnTo>
                  <a:lnTo>
                    <a:pt x="1146" y="2604"/>
                  </a:lnTo>
                  <a:lnTo>
                    <a:pt x="1192" y="2631"/>
                  </a:lnTo>
                  <a:lnTo>
                    <a:pt x="1237" y="2656"/>
                  </a:lnTo>
                  <a:lnTo>
                    <a:pt x="1284" y="2676"/>
                  </a:lnTo>
                  <a:lnTo>
                    <a:pt x="1306" y="2685"/>
                  </a:lnTo>
                  <a:lnTo>
                    <a:pt x="1329" y="2693"/>
                  </a:lnTo>
                  <a:lnTo>
                    <a:pt x="1351" y="2699"/>
                  </a:lnTo>
                  <a:lnTo>
                    <a:pt x="1373" y="2704"/>
                  </a:lnTo>
                  <a:lnTo>
                    <a:pt x="1396" y="2709"/>
                  </a:lnTo>
                  <a:lnTo>
                    <a:pt x="1418" y="2712"/>
                  </a:lnTo>
                  <a:lnTo>
                    <a:pt x="1441" y="2714"/>
                  </a:lnTo>
                  <a:lnTo>
                    <a:pt x="1462" y="2714"/>
                  </a:lnTo>
                  <a:lnTo>
                    <a:pt x="1555" y="2714"/>
                  </a:lnTo>
                  <a:lnTo>
                    <a:pt x="1581" y="2713"/>
                  </a:lnTo>
                  <a:lnTo>
                    <a:pt x="1607" y="2710"/>
                  </a:lnTo>
                  <a:lnTo>
                    <a:pt x="1632" y="2706"/>
                  </a:lnTo>
                  <a:lnTo>
                    <a:pt x="1656" y="2699"/>
                  </a:lnTo>
                  <a:lnTo>
                    <a:pt x="1680" y="2691"/>
                  </a:lnTo>
                  <a:lnTo>
                    <a:pt x="1704" y="2681"/>
                  </a:lnTo>
                  <a:lnTo>
                    <a:pt x="1727" y="2669"/>
                  </a:lnTo>
                  <a:lnTo>
                    <a:pt x="1749" y="2657"/>
                  </a:lnTo>
                  <a:lnTo>
                    <a:pt x="1771" y="2642"/>
                  </a:lnTo>
                  <a:lnTo>
                    <a:pt x="1793" y="2628"/>
                  </a:lnTo>
                  <a:lnTo>
                    <a:pt x="1814" y="2611"/>
                  </a:lnTo>
                  <a:lnTo>
                    <a:pt x="1835" y="2594"/>
                  </a:lnTo>
                  <a:lnTo>
                    <a:pt x="1875" y="2556"/>
                  </a:lnTo>
                  <a:lnTo>
                    <a:pt x="1915" y="2516"/>
                  </a:lnTo>
                  <a:lnTo>
                    <a:pt x="1954" y="2473"/>
                  </a:lnTo>
                  <a:lnTo>
                    <a:pt x="1992" y="2430"/>
                  </a:lnTo>
                  <a:lnTo>
                    <a:pt x="2029" y="2386"/>
                  </a:lnTo>
                  <a:lnTo>
                    <a:pt x="2065" y="2343"/>
                  </a:lnTo>
                  <a:lnTo>
                    <a:pt x="2101" y="2299"/>
                  </a:lnTo>
                  <a:lnTo>
                    <a:pt x="2137" y="2258"/>
                  </a:lnTo>
                  <a:lnTo>
                    <a:pt x="2173" y="2220"/>
                  </a:lnTo>
                  <a:lnTo>
                    <a:pt x="2192" y="2202"/>
                  </a:lnTo>
                  <a:lnTo>
                    <a:pt x="2210" y="2185"/>
                  </a:lnTo>
                  <a:lnTo>
                    <a:pt x="2335" y="2371"/>
                  </a:lnTo>
                  <a:lnTo>
                    <a:pt x="2241" y="2559"/>
                  </a:lnTo>
                  <a:lnTo>
                    <a:pt x="2234" y="2568"/>
                  </a:lnTo>
                  <a:lnTo>
                    <a:pt x="2228" y="2579"/>
                  </a:lnTo>
                  <a:lnTo>
                    <a:pt x="2220" y="2591"/>
                  </a:lnTo>
                  <a:lnTo>
                    <a:pt x="2212" y="2604"/>
                  </a:lnTo>
                  <a:lnTo>
                    <a:pt x="2202" y="2619"/>
                  </a:lnTo>
                  <a:lnTo>
                    <a:pt x="2193" y="2634"/>
                  </a:lnTo>
                  <a:lnTo>
                    <a:pt x="2171" y="2668"/>
                  </a:lnTo>
                  <a:lnTo>
                    <a:pt x="2146" y="2704"/>
                  </a:lnTo>
                  <a:lnTo>
                    <a:pt x="2119" y="2743"/>
                  </a:lnTo>
                  <a:lnTo>
                    <a:pt x="2088" y="2783"/>
                  </a:lnTo>
                  <a:lnTo>
                    <a:pt x="2054" y="2824"/>
                  </a:lnTo>
                  <a:lnTo>
                    <a:pt x="2018" y="2865"/>
                  </a:lnTo>
                  <a:lnTo>
                    <a:pt x="1978" y="2905"/>
                  </a:lnTo>
                  <a:lnTo>
                    <a:pt x="1936" y="2943"/>
                  </a:lnTo>
                  <a:lnTo>
                    <a:pt x="1891" y="2980"/>
                  </a:lnTo>
                  <a:lnTo>
                    <a:pt x="1842" y="3013"/>
                  </a:lnTo>
                  <a:lnTo>
                    <a:pt x="1817" y="3029"/>
                  </a:lnTo>
                  <a:lnTo>
                    <a:pt x="1792" y="3043"/>
                  </a:lnTo>
                  <a:lnTo>
                    <a:pt x="1765" y="3056"/>
                  </a:lnTo>
                  <a:lnTo>
                    <a:pt x="1737" y="3069"/>
                  </a:lnTo>
                  <a:lnTo>
                    <a:pt x="1709" y="3079"/>
                  </a:lnTo>
                  <a:lnTo>
                    <a:pt x="1680" y="3088"/>
                  </a:lnTo>
                  <a:lnTo>
                    <a:pt x="1657" y="3099"/>
                  </a:lnTo>
                  <a:lnTo>
                    <a:pt x="1634" y="3107"/>
                  </a:lnTo>
                  <a:lnTo>
                    <a:pt x="1610" y="3112"/>
                  </a:lnTo>
                  <a:lnTo>
                    <a:pt x="1587" y="3116"/>
                  </a:lnTo>
                  <a:lnTo>
                    <a:pt x="1563" y="3118"/>
                  </a:lnTo>
                  <a:lnTo>
                    <a:pt x="1540" y="3119"/>
                  </a:lnTo>
                  <a:lnTo>
                    <a:pt x="1493" y="3120"/>
                  </a:lnTo>
                  <a:lnTo>
                    <a:pt x="1463" y="3119"/>
                  </a:lnTo>
                  <a:lnTo>
                    <a:pt x="1434" y="3118"/>
                  </a:lnTo>
                  <a:lnTo>
                    <a:pt x="1404" y="3115"/>
                  </a:lnTo>
                  <a:lnTo>
                    <a:pt x="1374" y="3111"/>
                  </a:lnTo>
                  <a:lnTo>
                    <a:pt x="1345" y="3106"/>
                  </a:lnTo>
                  <a:lnTo>
                    <a:pt x="1315" y="3101"/>
                  </a:lnTo>
                  <a:lnTo>
                    <a:pt x="1285" y="3093"/>
                  </a:lnTo>
                  <a:lnTo>
                    <a:pt x="1254" y="3085"/>
                  </a:lnTo>
                  <a:lnTo>
                    <a:pt x="1224" y="3076"/>
                  </a:lnTo>
                  <a:lnTo>
                    <a:pt x="1193" y="3066"/>
                  </a:lnTo>
                  <a:lnTo>
                    <a:pt x="1162" y="3053"/>
                  </a:lnTo>
                  <a:lnTo>
                    <a:pt x="1131" y="3041"/>
                  </a:lnTo>
                  <a:lnTo>
                    <a:pt x="1100" y="3028"/>
                  </a:lnTo>
                  <a:lnTo>
                    <a:pt x="1069" y="3013"/>
                  </a:lnTo>
                  <a:lnTo>
                    <a:pt x="1038" y="2997"/>
                  </a:lnTo>
                  <a:lnTo>
                    <a:pt x="1006" y="2980"/>
                  </a:lnTo>
                  <a:lnTo>
                    <a:pt x="975" y="2962"/>
                  </a:lnTo>
                  <a:lnTo>
                    <a:pt x="943" y="2942"/>
                  </a:lnTo>
                  <a:lnTo>
                    <a:pt x="912" y="2922"/>
                  </a:lnTo>
                  <a:lnTo>
                    <a:pt x="880" y="2901"/>
                  </a:lnTo>
                  <a:lnTo>
                    <a:pt x="848" y="2878"/>
                  </a:lnTo>
                  <a:lnTo>
                    <a:pt x="816" y="2855"/>
                  </a:lnTo>
                  <a:lnTo>
                    <a:pt x="784" y="2830"/>
                  </a:lnTo>
                  <a:lnTo>
                    <a:pt x="752" y="2804"/>
                  </a:lnTo>
                  <a:lnTo>
                    <a:pt x="720" y="2777"/>
                  </a:lnTo>
                  <a:lnTo>
                    <a:pt x="688" y="2749"/>
                  </a:lnTo>
                  <a:lnTo>
                    <a:pt x="656" y="2721"/>
                  </a:lnTo>
                  <a:lnTo>
                    <a:pt x="624" y="2691"/>
                  </a:lnTo>
                  <a:lnTo>
                    <a:pt x="592" y="2659"/>
                  </a:lnTo>
                  <a:lnTo>
                    <a:pt x="560" y="2627"/>
                  </a:lnTo>
                  <a:lnTo>
                    <a:pt x="528" y="2593"/>
                  </a:lnTo>
                  <a:lnTo>
                    <a:pt x="496" y="2559"/>
                  </a:lnTo>
                  <a:lnTo>
                    <a:pt x="496" y="2559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" name="Freeform 43">
              <a:extLst>
                <a:ext uri="{FF2B5EF4-FFF2-40B4-BE49-F238E27FC236}">
                  <a16:creationId xmlns:a16="http://schemas.microsoft.com/office/drawing/2014/main" id="{92F0C9B7-272C-4DF4-B6B5-4AD3501677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3449" y="4699005"/>
              <a:ext cx="254001" cy="346075"/>
            </a:xfrm>
            <a:custGeom>
              <a:avLst/>
              <a:gdLst>
                <a:gd name="T0" fmla="*/ 77 w 2403"/>
                <a:gd name="T1" fmla="*/ 3032 h 3283"/>
                <a:gd name="T2" fmla="*/ 19 w 2403"/>
                <a:gd name="T3" fmla="*/ 2902 h 3283"/>
                <a:gd name="T4" fmla="*/ 1 w 2403"/>
                <a:gd name="T5" fmla="*/ 2781 h 3283"/>
                <a:gd name="T6" fmla="*/ 2 w 2403"/>
                <a:gd name="T7" fmla="*/ 2687 h 3283"/>
                <a:gd name="T8" fmla="*/ 377 w 2403"/>
                <a:gd name="T9" fmla="*/ 2720 h 3283"/>
                <a:gd name="T10" fmla="*/ 376 w 2403"/>
                <a:gd name="T11" fmla="*/ 2729 h 3283"/>
                <a:gd name="T12" fmla="*/ 378 w 2403"/>
                <a:gd name="T13" fmla="*/ 2789 h 3283"/>
                <a:gd name="T14" fmla="*/ 409 w 2403"/>
                <a:gd name="T15" fmla="*/ 2868 h 3283"/>
                <a:gd name="T16" fmla="*/ 453 w 2403"/>
                <a:gd name="T17" fmla="*/ 2911 h 3283"/>
                <a:gd name="T18" fmla="*/ 508 w 2403"/>
                <a:gd name="T19" fmla="*/ 2932 h 3283"/>
                <a:gd name="T20" fmla="*/ 1748 w 2403"/>
                <a:gd name="T21" fmla="*/ 2941 h 3283"/>
                <a:gd name="T22" fmla="*/ 1875 w 2403"/>
                <a:gd name="T23" fmla="*/ 2914 h 3283"/>
                <a:gd name="T24" fmla="*/ 1974 w 2403"/>
                <a:gd name="T25" fmla="*/ 2840 h 3283"/>
                <a:gd name="T26" fmla="*/ 2037 w 2403"/>
                <a:gd name="T27" fmla="*/ 2731 h 3283"/>
                <a:gd name="T28" fmla="*/ 2060 w 2403"/>
                <a:gd name="T29" fmla="*/ 2598 h 3283"/>
                <a:gd name="T30" fmla="*/ 2036 w 2403"/>
                <a:gd name="T31" fmla="*/ 2461 h 3283"/>
                <a:gd name="T32" fmla="*/ 1982 w 2403"/>
                <a:gd name="T33" fmla="*/ 2342 h 3283"/>
                <a:gd name="T34" fmla="*/ 1930 w 2403"/>
                <a:gd name="T35" fmla="*/ 2257 h 3283"/>
                <a:gd name="T36" fmla="*/ 1907 w 2403"/>
                <a:gd name="T37" fmla="*/ 2226 h 3283"/>
                <a:gd name="T38" fmla="*/ 1906 w 2403"/>
                <a:gd name="T39" fmla="*/ 2217 h 3283"/>
                <a:gd name="T40" fmla="*/ 1908 w 2403"/>
                <a:gd name="T41" fmla="*/ 2166 h 3283"/>
                <a:gd name="T42" fmla="*/ 1911 w 2403"/>
                <a:gd name="T43" fmla="*/ 2073 h 3283"/>
                <a:gd name="T44" fmla="*/ 1913 w 2403"/>
                <a:gd name="T45" fmla="*/ 1952 h 3283"/>
                <a:gd name="T46" fmla="*/ 1910 w 2403"/>
                <a:gd name="T47" fmla="*/ 1675 h 3283"/>
                <a:gd name="T48" fmla="*/ 1899 w 2403"/>
                <a:gd name="T49" fmla="*/ 1512 h 3283"/>
                <a:gd name="T50" fmla="*/ 1882 w 2403"/>
                <a:gd name="T51" fmla="*/ 1404 h 3283"/>
                <a:gd name="T52" fmla="*/ 1827 w 2403"/>
                <a:gd name="T53" fmla="*/ 1248 h 3283"/>
                <a:gd name="T54" fmla="*/ 1769 w 2403"/>
                <a:gd name="T55" fmla="*/ 1094 h 3283"/>
                <a:gd name="T56" fmla="*/ 1714 w 2403"/>
                <a:gd name="T57" fmla="*/ 965 h 3283"/>
                <a:gd name="T58" fmla="*/ 1618 w 2403"/>
                <a:gd name="T59" fmla="*/ 773 h 3283"/>
                <a:gd name="T60" fmla="*/ 1484 w 2403"/>
                <a:gd name="T61" fmla="*/ 567 h 3283"/>
                <a:gd name="T62" fmla="*/ 1373 w 2403"/>
                <a:gd name="T63" fmla="*/ 423 h 3283"/>
                <a:gd name="T64" fmla="*/ 1853 w 2403"/>
                <a:gd name="T65" fmla="*/ 489 h 3283"/>
                <a:gd name="T66" fmla="*/ 1888 w 2403"/>
                <a:gd name="T67" fmla="*/ 544 h 3283"/>
                <a:gd name="T68" fmla="*/ 1936 w 2403"/>
                <a:gd name="T69" fmla="*/ 622 h 3283"/>
                <a:gd name="T70" fmla="*/ 2034 w 2403"/>
                <a:gd name="T71" fmla="*/ 796 h 3283"/>
                <a:gd name="T72" fmla="*/ 2144 w 2403"/>
                <a:gd name="T73" fmla="*/ 1019 h 3283"/>
                <a:gd name="T74" fmla="*/ 2214 w 2403"/>
                <a:gd name="T75" fmla="*/ 1205 h 3283"/>
                <a:gd name="T76" fmla="*/ 2238 w 2403"/>
                <a:gd name="T77" fmla="*/ 1318 h 3283"/>
                <a:gd name="T78" fmla="*/ 2256 w 2403"/>
                <a:gd name="T79" fmla="*/ 1534 h 3283"/>
                <a:gd name="T80" fmla="*/ 2254 w 2403"/>
                <a:gd name="T81" fmla="*/ 1832 h 3283"/>
                <a:gd name="T82" fmla="*/ 2249 w 2403"/>
                <a:gd name="T83" fmla="*/ 2052 h 3283"/>
                <a:gd name="T84" fmla="*/ 2338 w 2403"/>
                <a:gd name="T85" fmla="*/ 2254 h 3283"/>
                <a:gd name="T86" fmla="*/ 2379 w 2403"/>
                <a:gd name="T87" fmla="*/ 2372 h 3283"/>
                <a:gd name="T88" fmla="*/ 2400 w 2403"/>
                <a:gd name="T89" fmla="*/ 2500 h 3283"/>
                <a:gd name="T90" fmla="*/ 2399 w 2403"/>
                <a:gd name="T91" fmla="*/ 2644 h 3283"/>
                <a:gd name="T92" fmla="*/ 2375 w 2403"/>
                <a:gd name="T93" fmla="*/ 2785 h 3283"/>
                <a:gd name="T94" fmla="*/ 2326 w 2403"/>
                <a:gd name="T95" fmla="*/ 2914 h 3283"/>
                <a:gd name="T96" fmla="*/ 2257 w 2403"/>
                <a:gd name="T97" fmla="*/ 3028 h 3283"/>
                <a:gd name="T98" fmla="*/ 2169 w 2403"/>
                <a:gd name="T99" fmla="*/ 3124 h 3283"/>
                <a:gd name="T100" fmla="*/ 2065 w 2403"/>
                <a:gd name="T101" fmla="*/ 3200 h 3283"/>
                <a:gd name="T102" fmla="*/ 1946 w 2403"/>
                <a:gd name="T103" fmla="*/ 3252 h 3283"/>
                <a:gd name="T104" fmla="*/ 1816 w 2403"/>
                <a:gd name="T105" fmla="*/ 3280 h 3283"/>
                <a:gd name="T106" fmla="*/ 528 w 2403"/>
                <a:gd name="T107" fmla="*/ 3280 h 3283"/>
                <a:gd name="T108" fmla="*/ 398 w 2403"/>
                <a:gd name="T109" fmla="*/ 3263 h 3283"/>
                <a:gd name="T110" fmla="*/ 282 w 2403"/>
                <a:gd name="T111" fmla="*/ 3221 h 3283"/>
                <a:gd name="T112" fmla="*/ 185 w 2403"/>
                <a:gd name="T113" fmla="*/ 3157 h 3283"/>
                <a:gd name="T114" fmla="*/ 126 w 2403"/>
                <a:gd name="T115" fmla="*/ 3093 h 3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403" h="3283">
                  <a:moveTo>
                    <a:pt x="126" y="3093"/>
                  </a:moveTo>
                  <a:lnTo>
                    <a:pt x="113" y="3078"/>
                  </a:lnTo>
                  <a:lnTo>
                    <a:pt x="99" y="3063"/>
                  </a:lnTo>
                  <a:lnTo>
                    <a:pt x="77" y="3032"/>
                  </a:lnTo>
                  <a:lnTo>
                    <a:pt x="57" y="3000"/>
                  </a:lnTo>
                  <a:lnTo>
                    <a:pt x="42" y="2967"/>
                  </a:lnTo>
                  <a:lnTo>
                    <a:pt x="29" y="2935"/>
                  </a:lnTo>
                  <a:lnTo>
                    <a:pt x="19" y="2902"/>
                  </a:lnTo>
                  <a:lnTo>
                    <a:pt x="12" y="2870"/>
                  </a:lnTo>
                  <a:lnTo>
                    <a:pt x="6" y="2839"/>
                  </a:lnTo>
                  <a:lnTo>
                    <a:pt x="3" y="2809"/>
                  </a:lnTo>
                  <a:lnTo>
                    <a:pt x="1" y="2781"/>
                  </a:lnTo>
                  <a:lnTo>
                    <a:pt x="0" y="2754"/>
                  </a:lnTo>
                  <a:lnTo>
                    <a:pt x="0" y="2729"/>
                  </a:lnTo>
                  <a:lnTo>
                    <a:pt x="1" y="2706"/>
                  </a:lnTo>
                  <a:lnTo>
                    <a:pt x="2" y="2687"/>
                  </a:lnTo>
                  <a:lnTo>
                    <a:pt x="2" y="2669"/>
                  </a:lnTo>
                  <a:lnTo>
                    <a:pt x="3" y="2656"/>
                  </a:lnTo>
                  <a:lnTo>
                    <a:pt x="341" y="2331"/>
                  </a:lnTo>
                  <a:lnTo>
                    <a:pt x="377" y="2720"/>
                  </a:lnTo>
                  <a:lnTo>
                    <a:pt x="377" y="2720"/>
                  </a:lnTo>
                  <a:lnTo>
                    <a:pt x="376" y="2722"/>
                  </a:lnTo>
                  <a:lnTo>
                    <a:pt x="376" y="2725"/>
                  </a:lnTo>
                  <a:lnTo>
                    <a:pt x="376" y="2729"/>
                  </a:lnTo>
                  <a:lnTo>
                    <a:pt x="375" y="2739"/>
                  </a:lnTo>
                  <a:lnTo>
                    <a:pt x="375" y="2754"/>
                  </a:lnTo>
                  <a:lnTo>
                    <a:pt x="376" y="2770"/>
                  </a:lnTo>
                  <a:lnTo>
                    <a:pt x="378" y="2789"/>
                  </a:lnTo>
                  <a:lnTo>
                    <a:pt x="382" y="2808"/>
                  </a:lnTo>
                  <a:lnTo>
                    <a:pt x="388" y="2829"/>
                  </a:lnTo>
                  <a:lnTo>
                    <a:pt x="397" y="2849"/>
                  </a:lnTo>
                  <a:lnTo>
                    <a:pt x="409" y="2868"/>
                  </a:lnTo>
                  <a:lnTo>
                    <a:pt x="424" y="2887"/>
                  </a:lnTo>
                  <a:lnTo>
                    <a:pt x="433" y="2896"/>
                  </a:lnTo>
                  <a:lnTo>
                    <a:pt x="442" y="2903"/>
                  </a:lnTo>
                  <a:lnTo>
                    <a:pt x="453" y="2911"/>
                  </a:lnTo>
                  <a:lnTo>
                    <a:pt x="466" y="2918"/>
                  </a:lnTo>
                  <a:lnTo>
                    <a:pt x="478" y="2924"/>
                  </a:lnTo>
                  <a:lnTo>
                    <a:pt x="493" y="2929"/>
                  </a:lnTo>
                  <a:lnTo>
                    <a:pt x="508" y="2932"/>
                  </a:lnTo>
                  <a:lnTo>
                    <a:pt x="526" y="2935"/>
                  </a:lnTo>
                  <a:lnTo>
                    <a:pt x="544" y="2937"/>
                  </a:lnTo>
                  <a:lnTo>
                    <a:pt x="564" y="2938"/>
                  </a:lnTo>
                  <a:lnTo>
                    <a:pt x="1748" y="2941"/>
                  </a:lnTo>
                  <a:lnTo>
                    <a:pt x="1782" y="2939"/>
                  </a:lnTo>
                  <a:lnTo>
                    <a:pt x="1815" y="2934"/>
                  </a:lnTo>
                  <a:lnTo>
                    <a:pt x="1846" y="2926"/>
                  </a:lnTo>
                  <a:lnTo>
                    <a:pt x="1875" y="2914"/>
                  </a:lnTo>
                  <a:lnTo>
                    <a:pt x="1903" y="2900"/>
                  </a:lnTo>
                  <a:lnTo>
                    <a:pt x="1929" y="2883"/>
                  </a:lnTo>
                  <a:lnTo>
                    <a:pt x="1952" y="2863"/>
                  </a:lnTo>
                  <a:lnTo>
                    <a:pt x="1974" y="2840"/>
                  </a:lnTo>
                  <a:lnTo>
                    <a:pt x="1993" y="2816"/>
                  </a:lnTo>
                  <a:lnTo>
                    <a:pt x="2010" y="2790"/>
                  </a:lnTo>
                  <a:lnTo>
                    <a:pt x="2025" y="2761"/>
                  </a:lnTo>
                  <a:lnTo>
                    <a:pt x="2037" y="2731"/>
                  </a:lnTo>
                  <a:lnTo>
                    <a:pt x="2047" y="2700"/>
                  </a:lnTo>
                  <a:lnTo>
                    <a:pt x="2055" y="2667"/>
                  </a:lnTo>
                  <a:lnTo>
                    <a:pt x="2059" y="2633"/>
                  </a:lnTo>
                  <a:lnTo>
                    <a:pt x="2060" y="2598"/>
                  </a:lnTo>
                  <a:lnTo>
                    <a:pt x="2059" y="2563"/>
                  </a:lnTo>
                  <a:lnTo>
                    <a:pt x="2054" y="2529"/>
                  </a:lnTo>
                  <a:lnTo>
                    <a:pt x="2046" y="2495"/>
                  </a:lnTo>
                  <a:lnTo>
                    <a:pt x="2036" y="2461"/>
                  </a:lnTo>
                  <a:lnTo>
                    <a:pt x="2025" y="2429"/>
                  </a:lnTo>
                  <a:lnTo>
                    <a:pt x="2011" y="2398"/>
                  </a:lnTo>
                  <a:lnTo>
                    <a:pt x="1997" y="2369"/>
                  </a:lnTo>
                  <a:lnTo>
                    <a:pt x="1982" y="2342"/>
                  </a:lnTo>
                  <a:lnTo>
                    <a:pt x="1968" y="2316"/>
                  </a:lnTo>
                  <a:lnTo>
                    <a:pt x="1954" y="2293"/>
                  </a:lnTo>
                  <a:lnTo>
                    <a:pt x="1941" y="2274"/>
                  </a:lnTo>
                  <a:lnTo>
                    <a:pt x="1930" y="2257"/>
                  </a:lnTo>
                  <a:lnTo>
                    <a:pt x="1919" y="2243"/>
                  </a:lnTo>
                  <a:lnTo>
                    <a:pt x="1912" y="2233"/>
                  </a:lnTo>
                  <a:lnTo>
                    <a:pt x="1909" y="2229"/>
                  </a:lnTo>
                  <a:lnTo>
                    <a:pt x="1907" y="2226"/>
                  </a:lnTo>
                  <a:lnTo>
                    <a:pt x="1906" y="2225"/>
                  </a:lnTo>
                  <a:lnTo>
                    <a:pt x="1905" y="2224"/>
                  </a:lnTo>
                  <a:lnTo>
                    <a:pt x="1905" y="2223"/>
                  </a:lnTo>
                  <a:lnTo>
                    <a:pt x="1906" y="2217"/>
                  </a:lnTo>
                  <a:lnTo>
                    <a:pt x="1906" y="2209"/>
                  </a:lnTo>
                  <a:lnTo>
                    <a:pt x="1907" y="2198"/>
                  </a:lnTo>
                  <a:lnTo>
                    <a:pt x="1907" y="2183"/>
                  </a:lnTo>
                  <a:lnTo>
                    <a:pt x="1908" y="2166"/>
                  </a:lnTo>
                  <a:lnTo>
                    <a:pt x="1909" y="2146"/>
                  </a:lnTo>
                  <a:lnTo>
                    <a:pt x="1909" y="2123"/>
                  </a:lnTo>
                  <a:lnTo>
                    <a:pt x="1910" y="2100"/>
                  </a:lnTo>
                  <a:lnTo>
                    <a:pt x="1911" y="2073"/>
                  </a:lnTo>
                  <a:lnTo>
                    <a:pt x="1911" y="2045"/>
                  </a:lnTo>
                  <a:lnTo>
                    <a:pt x="1912" y="2016"/>
                  </a:lnTo>
                  <a:lnTo>
                    <a:pt x="1913" y="1985"/>
                  </a:lnTo>
                  <a:lnTo>
                    <a:pt x="1913" y="1952"/>
                  </a:lnTo>
                  <a:lnTo>
                    <a:pt x="1914" y="1885"/>
                  </a:lnTo>
                  <a:lnTo>
                    <a:pt x="1913" y="1816"/>
                  </a:lnTo>
                  <a:lnTo>
                    <a:pt x="1912" y="1745"/>
                  </a:lnTo>
                  <a:lnTo>
                    <a:pt x="1910" y="1675"/>
                  </a:lnTo>
                  <a:lnTo>
                    <a:pt x="1907" y="1606"/>
                  </a:lnTo>
                  <a:lnTo>
                    <a:pt x="1905" y="1573"/>
                  </a:lnTo>
                  <a:lnTo>
                    <a:pt x="1902" y="1541"/>
                  </a:lnTo>
                  <a:lnTo>
                    <a:pt x="1899" y="1512"/>
                  </a:lnTo>
                  <a:lnTo>
                    <a:pt x="1896" y="1482"/>
                  </a:lnTo>
                  <a:lnTo>
                    <a:pt x="1891" y="1454"/>
                  </a:lnTo>
                  <a:lnTo>
                    <a:pt x="1886" y="1428"/>
                  </a:lnTo>
                  <a:lnTo>
                    <a:pt x="1882" y="1404"/>
                  </a:lnTo>
                  <a:lnTo>
                    <a:pt x="1876" y="1383"/>
                  </a:lnTo>
                  <a:lnTo>
                    <a:pt x="1859" y="1336"/>
                  </a:lnTo>
                  <a:lnTo>
                    <a:pt x="1843" y="1291"/>
                  </a:lnTo>
                  <a:lnTo>
                    <a:pt x="1827" y="1248"/>
                  </a:lnTo>
                  <a:lnTo>
                    <a:pt x="1812" y="1207"/>
                  </a:lnTo>
                  <a:lnTo>
                    <a:pt x="1796" y="1167"/>
                  </a:lnTo>
                  <a:lnTo>
                    <a:pt x="1782" y="1130"/>
                  </a:lnTo>
                  <a:lnTo>
                    <a:pt x="1769" y="1094"/>
                  </a:lnTo>
                  <a:lnTo>
                    <a:pt x="1754" y="1060"/>
                  </a:lnTo>
                  <a:lnTo>
                    <a:pt x="1741" y="1026"/>
                  </a:lnTo>
                  <a:lnTo>
                    <a:pt x="1727" y="995"/>
                  </a:lnTo>
                  <a:lnTo>
                    <a:pt x="1714" y="965"/>
                  </a:lnTo>
                  <a:lnTo>
                    <a:pt x="1700" y="935"/>
                  </a:lnTo>
                  <a:lnTo>
                    <a:pt x="1674" y="878"/>
                  </a:lnTo>
                  <a:lnTo>
                    <a:pt x="1647" y="824"/>
                  </a:lnTo>
                  <a:lnTo>
                    <a:pt x="1618" y="773"/>
                  </a:lnTo>
                  <a:lnTo>
                    <a:pt x="1588" y="721"/>
                  </a:lnTo>
                  <a:lnTo>
                    <a:pt x="1556" y="671"/>
                  </a:lnTo>
                  <a:lnTo>
                    <a:pt x="1522" y="621"/>
                  </a:lnTo>
                  <a:lnTo>
                    <a:pt x="1484" y="567"/>
                  </a:lnTo>
                  <a:lnTo>
                    <a:pt x="1442" y="512"/>
                  </a:lnTo>
                  <a:lnTo>
                    <a:pt x="1421" y="484"/>
                  </a:lnTo>
                  <a:lnTo>
                    <a:pt x="1398" y="454"/>
                  </a:lnTo>
                  <a:lnTo>
                    <a:pt x="1373" y="423"/>
                  </a:lnTo>
                  <a:lnTo>
                    <a:pt x="1348" y="391"/>
                  </a:lnTo>
                  <a:lnTo>
                    <a:pt x="1488" y="0"/>
                  </a:lnTo>
                  <a:lnTo>
                    <a:pt x="1847" y="479"/>
                  </a:lnTo>
                  <a:lnTo>
                    <a:pt x="1853" y="489"/>
                  </a:lnTo>
                  <a:lnTo>
                    <a:pt x="1862" y="500"/>
                  </a:lnTo>
                  <a:lnTo>
                    <a:pt x="1870" y="513"/>
                  </a:lnTo>
                  <a:lnTo>
                    <a:pt x="1879" y="528"/>
                  </a:lnTo>
                  <a:lnTo>
                    <a:pt x="1888" y="544"/>
                  </a:lnTo>
                  <a:lnTo>
                    <a:pt x="1900" y="562"/>
                  </a:lnTo>
                  <a:lnTo>
                    <a:pt x="1911" y="580"/>
                  </a:lnTo>
                  <a:lnTo>
                    <a:pt x="1922" y="601"/>
                  </a:lnTo>
                  <a:lnTo>
                    <a:pt x="1936" y="622"/>
                  </a:lnTo>
                  <a:lnTo>
                    <a:pt x="1948" y="644"/>
                  </a:lnTo>
                  <a:lnTo>
                    <a:pt x="1976" y="692"/>
                  </a:lnTo>
                  <a:lnTo>
                    <a:pt x="2004" y="742"/>
                  </a:lnTo>
                  <a:lnTo>
                    <a:pt x="2034" y="796"/>
                  </a:lnTo>
                  <a:lnTo>
                    <a:pt x="2063" y="850"/>
                  </a:lnTo>
                  <a:lnTo>
                    <a:pt x="2091" y="906"/>
                  </a:lnTo>
                  <a:lnTo>
                    <a:pt x="2119" y="963"/>
                  </a:lnTo>
                  <a:lnTo>
                    <a:pt x="2144" y="1019"/>
                  </a:lnTo>
                  <a:lnTo>
                    <a:pt x="2167" y="1075"/>
                  </a:lnTo>
                  <a:lnTo>
                    <a:pt x="2189" y="1128"/>
                  </a:lnTo>
                  <a:lnTo>
                    <a:pt x="2206" y="1180"/>
                  </a:lnTo>
                  <a:lnTo>
                    <a:pt x="2214" y="1205"/>
                  </a:lnTo>
                  <a:lnTo>
                    <a:pt x="2220" y="1228"/>
                  </a:lnTo>
                  <a:lnTo>
                    <a:pt x="2225" y="1249"/>
                  </a:lnTo>
                  <a:lnTo>
                    <a:pt x="2230" y="1272"/>
                  </a:lnTo>
                  <a:lnTo>
                    <a:pt x="2238" y="1318"/>
                  </a:lnTo>
                  <a:lnTo>
                    <a:pt x="2246" y="1368"/>
                  </a:lnTo>
                  <a:lnTo>
                    <a:pt x="2250" y="1422"/>
                  </a:lnTo>
                  <a:lnTo>
                    <a:pt x="2254" y="1477"/>
                  </a:lnTo>
                  <a:lnTo>
                    <a:pt x="2256" y="1534"/>
                  </a:lnTo>
                  <a:lnTo>
                    <a:pt x="2257" y="1593"/>
                  </a:lnTo>
                  <a:lnTo>
                    <a:pt x="2257" y="1653"/>
                  </a:lnTo>
                  <a:lnTo>
                    <a:pt x="2256" y="1772"/>
                  </a:lnTo>
                  <a:lnTo>
                    <a:pt x="2254" y="1832"/>
                  </a:lnTo>
                  <a:lnTo>
                    <a:pt x="2253" y="1890"/>
                  </a:lnTo>
                  <a:lnTo>
                    <a:pt x="2251" y="1946"/>
                  </a:lnTo>
                  <a:lnTo>
                    <a:pt x="2250" y="2001"/>
                  </a:lnTo>
                  <a:lnTo>
                    <a:pt x="2249" y="2052"/>
                  </a:lnTo>
                  <a:lnTo>
                    <a:pt x="2249" y="2101"/>
                  </a:lnTo>
                  <a:lnTo>
                    <a:pt x="2282" y="2149"/>
                  </a:lnTo>
                  <a:lnTo>
                    <a:pt x="2312" y="2201"/>
                  </a:lnTo>
                  <a:lnTo>
                    <a:pt x="2338" y="2254"/>
                  </a:lnTo>
                  <a:lnTo>
                    <a:pt x="2350" y="2282"/>
                  </a:lnTo>
                  <a:lnTo>
                    <a:pt x="2361" y="2312"/>
                  </a:lnTo>
                  <a:lnTo>
                    <a:pt x="2370" y="2341"/>
                  </a:lnTo>
                  <a:lnTo>
                    <a:pt x="2379" y="2372"/>
                  </a:lnTo>
                  <a:lnTo>
                    <a:pt x="2386" y="2403"/>
                  </a:lnTo>
                  <a:lnTo>
                    <a:pt x="2392" y="2434"/>
                  </a:lnTo>
                  <a:lnTo>
                    <a:pt x="2397" y="2466"/>
                  </a:lnTo>
                  <a:lnTo>
                    <a:pt x="2400" y="2500"/>
                  </a:lnTo>
                  <a:lnTo>
                    <a:pt x="2402" y="2534"/>
                  </a:lnTo>
                  <a:lnTo>
                    <a:pt x="2403" y="2568"/>
                  </a:lnTo>
                  <a:lnTo>
                    <a:pt x="2402" y="2606"/>
                  </a:lnTo>
                  <a:lnTo>
                    <a:pt x="2399" y="2644"/>
                  </a:lnTo>
                  <a:lnTo>
                    <a:pt x="2395" y="2680"/>
                  </a:lnTo>
                  <a:lnTo>
                    <a:pt x="2390" y="2716"/>
                  </a:lnTo>
                  <a:lnTo>
                    <a:pt x="2383" y="2751"/>
                  </a:lnTo>
                  <a:lnTo>
                    <a:pt x="2375" y="2785"/>
                  </a:lnTo>
                  <a:lnTo>
                    <a:pt x="2364" y="2819"/>
                  </a:lnTo>
                  <a:lnTo>
                    <a:pt x="2353" y="2852"/>
                  </a:lnTo>
                  <a:lnTo>
                    <a:pt x="2341" y="2884"/>
                  </a:lnTo>
                  <a:lnTo>
                    <a:pt x="2326" y="2914"/>
                  </a:lnTo>
                  <a:lnTo>
                    <a:pt x="2311" y="2944"/>
                  </a:lnTo>
                  <a:lnTo>
                    <a:pt x="2294" y="2973"/>
                  </a:lnTo>
                  <a:lnTo>
                    <a:pt x="2275" y="3001"/>
                  </a:lnTo>
                  <a:lnTo>
                    <a:pt x="2257" y="3028"/>
                  </a:lnTo>
                  <a:lnTo>
                    <a:pt x="2236" y="3054"/>
                  </a:lnTo>
                  <a:lnTo>
                    <a:pt x="2215" y="3078"/>
                  </a:lnTo>
                  <a:lnTo>
                    <a:pt x="2193" y="3102"/>
                  </a:lnTo>
                  <a:lnTo>
                    <a:pt x="2169" y="3124"/>
                  </a:lnTo>
                  <a:lnTo>
                    <a:pt x="2144" y="3145"/>
                  </a:lnTo>
                  <a:lnTo>
                    <a:pt x="2119" y="3165"/>
                  </a:lnTo>
                  <a:lnTo>
                    <a:pt x="2092" y="3183"/>
                  </a:lnTo>
                  <a:lnTo>
                    <a:pt x="2065" y="3200"/>
                  </a:lnTo>
                  <a:lnTo>
                    <a:pt x="2036" y="3215"/>
                  </a:lnTo>
                  <a:lnTo>
                    <a:pt x="2007" y="3230"/>
                  </a:lnTo>
                  <a:lnTo>
                    <a:pt x="1977" y="3242"/>
                  </a:lnTo>
                  <a:lnTo>
                    <a:pt x="1946" y="3252"/>
                  </a:lnTo>
                  <a:lnTo>
                    <a:pt x="1914" y="3262"/>
                  </a:lnTo>
                  <a:lnTo>
                    <a:pt x="1882" y="3270"/>
                  </a:lnTo>
                  <a:lnTo>
                    <a:pt x="1849" y="3276"/>
                  </a:lnTo>
                  <a:lnTo>
                    <a:pt x="1816" y="3280"/>
                  </a:lnTo>
                  <a:lnTo>
                    <a:pt x="1781" y="3282"/>
                  </a:lnTo>
                  <a:lnTo>
                    <a:pt x="1747" y="3283"/>
                  </a:lnTo>
                  <a:lnTo>
                    <a:pt x="563" y="3281"/>
                  </a:lnTo>
                  <a:lnTo>
                    <a:pt x="528" y="3280"/>
                  </a:lnTo>
                  <a:lnTo>
                    <a:pt x="494" y="3278"/>
                  </a:lnTo>
                  <a:lnTo>
                    <a:pt x="461" y="3274"/>
                  </a:lnTo>
                  <a:lnTo>
                    <a:pt x="429" y="3269"/>
                  </a:lnTo>
                  <a:lnTo>
                    <a:pt x="398" y="3263"/>
                  </a:lnTo>
                  <a:lnTo>
                    <a:pt x="367" y="3254"/>
                  </a:lnTo>
                  <a:lnTo>
                    <a:pt x="338" y="3244"/>
                  </a:lnTo>
                  <a:lnTo>
                    <a:pt x="309" y="3234"/>
                  </a:lnTo>
                  <a:lnTo>
                    <a:pt x="282" y="3221"/>
                  </a:lnTo>
                  <a:lnTo>
                    <a:pt x="256" y="3207"/>
                  </a:lnTo>
                  <a:lnTo>
                    <a:pt x="231" y="3192"/>
                  </a:lnTo>
                  <a:lnTo>
                    <a:pt x="208" y="3175"/>
                  </a:lnTo>
                  <a:lnTo>
                    <a:pt x="185" y="3157"/>
                  </a:lnTo>
                  <a:lnTo>
                    <a:pt x="164" y="3137"/>
                  </a:lnTo>
                  <a:lnTo>
                    <a:pt x="145" y="3115"/>
                  </a:lnTo>
                  <a:lnTo>
                    <a:pt x="126" y="3093"/>
                  </a:lnTo>
                  <a:lnTo>
                    <a:pt x="126" y="3093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" name="Freeform 44">
              <a:extLst>
                <a:ext uri="{FF2B5EF4-FFF2-40B4-BE49-F238E27FC236}">
                  <a16:creationId xmlns:a16="http://schemas.microsoft.com/office/drawing/2014/main" id="{B1D80385-52AA-4C03-A243-654931F609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58900" y="3878269"/>
              <a:ext cx="1638300" cy="1214439"/>
            </a:xfrm>
            <a:custGeom>
              <a:avLst/>
              <a:gdLst>
                <a:gd name="T0" fmla="*/ 10977 w 15471"/>
                <a:gd name="T1" fmla="*/ 1806 h 11467"/>
                <a:gd name="T2" fmla="*/ 11863 w 15471"/>
                <a:gd name="T3" fmla="*/ 2687 h 11467"/>
                <a:gd name="T4" fmla="*/ 11965 w 15471"/>
                <a:gd name="T5" fmla="*/ 3282 h 11467"/>
                <a:gd name="T6" fmla="*/ 12755 w 15471"/>
                <a:gd name="T7" fmla="*/ 3676 h 11467"/>
                <a:gd name="T8" fmla="*/ 12767 w 15471"/>
                <a:gd name="T9" fmla="*/ 4735 h 11467"/>
                <a:gd name="T10" fmla="*/ 13108 w 15471"/>
                <a:gd name="T11" fmla="*/ 1674 h 11467"/>
                <a:gd name="T12" fmla="*/ 14652 w 15471"/>
                <a:gd name="T13" fmla="*/ 942 h 11467"/>
                <a:gd name="T14" fmla="*/ 15075 w 15471"/>
                <a:gd name="T15" fmla="*/ 4776 h 11467"/>
                <a:gd name="T16" fmla="*/ 12080 w 15471"/>
                <a:gd name="T17" fmla="*/ 6929 h 11467"/>
                <a:gd name="T18" fmla="*/ 10191 w 15471"/>
                <a:gd name="T19" fmla="*/ 5810 h 11467"/>
                <a:gd name="T20" fmla="*/ 11264 w 15471"/>
                <a:gd name="T21" fmla="*/ 7535 h 11467"/>
                <a:gd name="T22" fmla="*/ 10824 w 15471"/>
                <a:gd name="T23" fmla="*/ 8068 h 11467"/>
                <a:gd name="T24" fmla="*/ 8547 w 15471"/>
                <a:gd name="T25" fmla="*/ 6706 h 11467"/>
                <a:gd name="T26" fmla="*/ 9172 w 15471"/>
                <a:gd name="T27" fmla="*/ 8211 h 11467"/>
                <a:gd name="T28" fmla="*/ 6576 w 15471"/>
                <a:gd name="T29" fmla="*/ 11116 h 11467"/>
                <a:gd name="T30" fmla="*/ 6156 w 15471"/>
                <a:gd name="T31" fmla="*/ 9541 h 11467"/>
                <a:gd name="T32" fmla="*/ 6205 w 15471"/>
                <a:gd name="T33" fmla="*/ 9052 h 11467"/>
                <a:gd name="T34" fmla="*/ 4485 w 15471"/>
                <a:gd name="T35" fmla="*/ 9219 h 11467"/>
                <a:gd name="T36" fmla="*/ 3981 w 15471"/>
                <a:gd name="T37" fmla="*/ 10956 h 11467"/>
                <a:gd name="T38" fmla="*/ 2377 w 15471"/>
                <a:gd name="T39" fmla="*/ 9801 h 11467"/>
                <a:gd name="T40" fmla="*/ 1530 w 15471"/>
                <a:gd name="T41" fmla="*/ 7314 h 11467"/>
                <a:gd name="T42" fmla="*/ 1041 w 15471"/>
                <a:gd name="T43" fmla="*/ 5673 h 11467"/>
                <a:gd name="T44" fmla="*/ 412 w 15471"/>
                <a:gd name="T45" fmla="*/ 4456 h 11467"/>
                <a:gd name="T46" fmla="*/ 938 w 15471"/>
                <a:gd name="T47" fmla="*/ 4506 h 11467"/>
                <a:gd name="T48" fmla="*/ 1436 w 15471"/>
                <a:gd name="T49" fmla="*/ 5064 h 11467"/>
                <a:gd name="T50" fmla="*/ 4800 w 15471"/>
                <a:gd name="T51" fmla="*/ 2713 h 11467"/>
                <a:gd name="T52" fmla="*/ 3605 w 15471"/>
                <a:gd name="T53" fmla="*/ 4402 h 11467"/>
                <a:gd name="T54" fmla="*/ 3968 w 15471"/>
                <a:gd name="T55" fmla="*/ 6936 h 11467"/>
                <a:gd name="T56" fmla="*/ 6878 w 15471"/>
                <a:gd name="T57" fmla="*/ 7007 h 11467"/>
                <a:gd name="T58" fmla="*/ 8016 w 15471"/>
                <a:gd name="T59" fmla="*/ 5640 h 11467"/>
                <a:gd name="T60" fmla="*/ 7464 w 15471"/>
                <a:gd name="T61" fmla="*/ 4107 h 11467"/>
                <a:gd name="T62" fmla="*/ 7291 w 15471"/>
                <a:gd name="T63" fmla="*/ 6616 h 11467"/>
                <a:gd name="T64" fmla="*/ 4638 w 15471"/>
                <a:gd name="T65" fmla="*/ 7120 h 11467"/>
                <a:gd name="T66" fmla="*/ 3893 w 15471"/>
                <a:gd name="T67" fmla="*/ 4655 h 11467"/>
                <a:gd name="T68" fmla="*/ 7348 w 15471"/>
                <a:gd name="T69" fmla="*/ 1684 h 11467"/>
                <a:gd name="T70" fmla="*/ 7505 w 15471"/>
                <a:gd name="T71" fmla="*/ 821 h 11467"/>
                <a:gd name="T72" fmla="*/ 14394 w 15471"/>
                <a:gd name="T73" fmla="*/ 1187 h 11467"/>
                <a:gd name="T74" fmla="*/ 13401 w 15471"/>
                <a:gd name="T75" fmla="*/ 1768 h 11467"/>
                <a:gd name="T76" fmla="*/ 9509 w 15471"/>
                <a:gd name="T77" fmla="*/ 2321 h 11467"/>
                <a:gd name="T78" fmla="*/ 9002 w 15471"/>
                <a:gd name="T79" fmla="*/ 2398 h 11467"/>
                <a:gd name="T80" fmla="*/ 9753 w 15471"/>
                <a:gd name="T81" fmla="*/ 3768 h 11467"/>
                <a:gd name="T82" fmla="*/ 9917 w 15471"/>
                <a:gd name="T83" fmla="*/ 4293 h 11467"/>
                <a:gd name="T84" fmla="*/ 10789 w 15471"/>
                <a:gd name="T85" fmla="*/ 3533 h 11467"/>
                <a:gd name="T86" fmla="*/ 10668 w 15471"/>
                <a:gd name="T87" fmla="*/ 3016 h 11467"/>
                <a:gd name="T88" fmla="*/ 9418 w 15471"/>
                <a:gd name="T89" fmla="*/ 3866 h 11467"/>
                <a:gd name="T90" fmla="*/ 6560 w 15471"/>
                <a:gd name="T91" fmla="*/ 1283 h 11467"/>
                <a:gd name="T92" fmla="*/ 4869 w 15471"/>
                <a:gd name="T93" fmla="*/ 2378 h 11467"/>
                <a:gd name="T94" fmla="*/ 1533 w 15471"/>
                <a:gd name="T95" fmla="*/ 4436 h 11467"/>
                <a:gd name="T96" fmla="*/ 865 w 15471"/>
                <a:gd name="T97" fmla="*/ 3460 h 11467"/>
                <a:gd name="T98" fmla="*/ 523 w 15471"/>
                <a:gd name="T99" fmla="*/ 5835 h 11467"/>
                <a:gd name="T100" fmla="*/ 2021 w 15471"/>
                <a:gd name="T101" fmla="*/ 9156 h 11467"/>
                <a:gd name="T102" fmla="*/ 2536 w 15471"/>
                <a:gd name="T103" fmla="*/ 11188 h 11467"/>
                <a:gd name="T104" fmla="*/ 4423 w 15471"/>
                <a:gd name="T105" fmla="*/ 10332 h 11467"/>
                <a:gd name="T106" fmla="*/ 5268 w 15471"/>
                <a:gd name="T107" fmla="*/ 9942 h 11467"/>
                <a:gd name="T108" fmla="*/ 7052 w 15471"/>
                <a:gd name="T109" fmla="*/ 11297 h 11467"/>
                <a:gd name="T110" fmla="*/ 9714 w 15471"/>
                <a:gd name="T111" fmla="*/ 7999 h 11467"/>
                <a:gd name="T112" fmla="*/ 11839 w 15471"/>
                <a:gd name="T113" fmla="*/ 7522 h 11467"/>
                <a:gd name="T114" fmla="*/ 14957 w 15471"/>
                <a:gd name="T115" fmla="*/ 5826 h 11467"/>
                <a:gd name="T116" fmla="*/ 14949 w 15471"/>
                <a:gd name="T117" fmla="*/ 867 h 11467"/>
                <a:gd name="T118" fmla="*/ 13419 w 15471"/>
                <a:gd name="T119" fmla="*/ 1053 h 11467"/>
                <a:gd name="T120" fmla="*/ 12890 w 15471"/>
                <a:gd name="T121" fmla="*/ 3396 h 11467"/>
                <a:gd name="T122" fmla="*/ 12179 w 15471"/>
                <a:gd name="T123" fmla="*/ 1882 h 11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471" h="11467">
                  <a:moveTo>
                    <a:pt x="9231" y="342"/>
                  </a:moveTo>
                  <a:lnTo>
                    <a:pt x="9450" y="342"/>
                  </a:lnTo>
                  <a:lnTo>
                    <a:pt x="9501" y="346"/>
                  </a:lnTo>
                  <a:lnTo>
                    <a:pt x="9553" y="351"/>
                  </a:lnTo>
                  <a:lnTo>
                    <a:pt x="9604" y="357"/>
                  </a:lnTo>
                  <a:lnTo>
                    <a:pt x="9654" y="364"/>
                  </a:lnTo>
                  <a:lnTo>
                    <a:pt x="9703" y="373"/>
                  </a:lnTo>
                  <a:lnTo>
                    <a:pt x="9752" y="383"/>
                  </a:lnTo>
                  <a:lnTo>
                    <a:pt x="9801" y="394"/>
                  </a:lnTo>
                  <a:lnTo>
                    <a:pt x="9848" y="405"/>
                  </a:lnTo>
                  <a:lnTo>
                    <a:pt x="9894" y="419"/>
                  </a:lnTo>
                  <a:lnTo>
                    <a:pt x="9941" y="433"/>
                  </a:lnTo>
                  <a:lnTo>
                    <a:pt x="10031" y="464"/>
                  </a:lnTo>
                  <a:lnTo>
                    <a:pt x="10118" y="499"/>
                  </a:lnTo>
                  <a:lnTo>
                    <a:pt x="10203" y="537"/>
                  </a:lnTo>
                  <a:lnTo>
                    <a:pt x="10285" y="579"/>
                  </a:lnTo>
                  <a:lnTo>
                    <a:pt x="10364" y="623"/>
                  </a:lnTo>
                  <a:lnTo>
                    <a:pt x="10441" y="669"/>
                  </a:lnTo>
                  <a:lnTo>
                    <a:pt x="10514" y="718"/>
                  </a:lnTo>
                  <a:lnTo>
                    <a:pt x="10585" y="768"/>
                  </a:lnTo>
                  <a:lnTo>
                    <a:pt x="10653" y="820"/>
                  </a:lnTo>
                  <a:lnTo>
                    <a:pt x="10719" y="873"/>
                  </a:lnTo>
                  <a:lnTo>
                    <a:pt x="10781" y="927"/>
                  </a:lnTo>
                  <a:lnTo>
                    <a:pt x="10841" y="980"/>
                  </a:lnTo>
                  <a:lnTo>
                    <a:pt x="10899" y="1035"/>
                  </a:lnTo>
                  <a:lnTo>
                    <a:pt x="10954" y="1089"/>
                  </a:lnTo>
                  <a:lnTo>
                    <a:pt x="11005" y="1144"/>
                  </a:lnTo>
                  <a:lnTo>
                    <a:pt x="11054" y="1198"/>
                  </a:lnTo>
                  <a:lnTo>
                    <a:pt x="11100" y="1249"/>
                  </a:lnTo>
                  <a:lnTo>
                    <a:pt x="11144" y="1301"/>
                  </a:lnTo>
                  <a:lnTo>
                    <a:pt x="11185" y="1350"/>
                  </a:lnTo>
                  <a:lnTo>
                    <a:pt x="11223" y="1397"/>
                  </a:lnTo>
                  <a:lnTo>
                    <a:pt x="11258" y="1443"/>
                  </a:lnTo>
                  <a:lnTo>
                    <a:pt x="11291" y="1486"/>
                  </a:lnTo>
                  <a:lnTo>
                    <a:pt x="11321" y="1526"/>
                  </a:lnTo>
                  <a:lnTo>
                    <a:pt x="11348" y="1562"/>
                  </a:lnTo>
                  <a:lnTo>
                    <a:pt x="11373" y="1596"/>
                  </a:lnTo>
                  <a:lnTo>
                    <a:pt x="11393" y="1626"/>
                  </a:lnTo>
                  <a:lnTo>
                    <a:pt x="11404" y="1638"/>
                  </a:lnTo>
                  <a:lnTo>
                    <a:pt x="11413" y="1651"/>
                  </a:lnTo>
                  <a:lnTo>
                    <a:pt x="11381" y="1651"/>
                  </a:lnTo>
                  <a:lnTo>
                    <a:pt x="11351" y="1653"/>
                  </a:lnTo>
                  <a:lnTo>
                    <a:pt x="11319" y="1658"/>
                  </a:lnTo>
                  <a:lnTo>
                    <a:pt x="11286" y="1665"/>
                  </a:lnTo>
                  <a:lnTo>
                    <a:pt x="11253" y="1676"/>
                  </a:lnTo>
                  <a:lnTo>
                    <a:pt x="11219" y="1687"/>
                  </a:lnTo>
                  <a:lnTo>
                    <a:pt x="11185" y="1700"/>
                  </a:lnTo>
                  <a:lnTo>
                    <a:pt x="11152" y="1715"/>
                  </a:lnTo>
                  <a:lnTo>
                    <a:pt x="11121" y="1729"/>
                  </a:lnTo>
                  <a:lnTo>
                    <a:pt x="11091" y="1743"/>
                  </a:lnTo>
                  <a:lnTo>
                    <a:pt x="11064" y="1758"/>
                  </a:lnTo>
                  <a:lnTo>
                    <a:pt x="11039" y="1770"/>
                  </a:lnTo>
                  <a:lnTo>
                    <a:pt x="11018" y="1783"/>
                  </a:lnTo>
                  <a:lnTo>
                    <a:pt x="11008" y="1788"/>
                  </a:lnTo>
                  <a:lnTo>
                    <a:pt x="11001" y="1792"/>
                  </a:lnTo>
                  <a:lnTo>
                    <a:pt x="10994" y="1796"/>
                  </a:lnTo>
                  <a:lnTo>
                    <a:pt x="10988" y="1800"/>
                  </a:lnTo>
                  <a:lnTo>
                    <a:pt x="10983" y="1803"/>
                  </a:lnTo>
                  <a:lnTo>
                    <a:pt x="10979" y="1805"/>
                  </a:lnTo>
                  <a:lnTo>
                    <a:pt x="10977" y="1806"/>
                  </a:lnTo>
                  <a:lnTo>
                    <a:pt x="10976" y="1806"/>
                  </a:lnTo>
                  <a:lnTo>
                    <a:pt x="11257" y="1806"/>
                  </a:lnTo>
                  <a:lnTo>
                    <a:pt x="11303" y="1806"/>
                  </a:lnTo>
                  <a:lnTo>
                    <a:pt x="11345" y="1807"/>
                  </a:lnTo>
                  <a:lnTo>
                    <a:pt x="11385" y="1808"/>
                  </a:lnTo>
                  <a:lnTo>
                    <a:pt x="11424" y="1810"/>
                  </a:lnTo>
                  <a:lnTo>
                    <a:pt x="11462" y="1815"/>
                  </a:lnTo>
                  <a:lnTo>
                    <a:pt x="11498" y="1820"/>
                  </a:lnTo>
                  <a:lnTo>
                    <a:pt x="11534" y="1828"/>
                  </a:lnTo>
                  <a:lnTo>
                    <a:pt x="11569" y="1838"/>
                  </a:lnTo>
                  <a:lnTo>
                    <a:pt x="11603" y="1851"/>
                  </a:lnTo>
                  <a:lnTo>
                    <a:pt x="11637" y="1863"/>
                  </a:lnTo>
                  <a:lnTo>
                    <a:pt x="11671" y="1877"/>
                  </a:lnTo>
                  <a:lnTo>
                    <a:pt x="11704" y="1893"/>
                  </a:lnTo>
                  <a:lnTo>
                    <a:pt x="11737" y="1910"/>
                  </a:lnTo>
                  <a:lnTo>
                    <a:pt x="11771" y="1930"/>
                  </a:lnTo>
                  <a:lnTo>
                    <a:pt x="11804" y="1951"/>
                  </a:lnTo>
                  <a:lnTo>
                    <a:pt x="11837" y="1974"/>
                  </a:lnTo>
                  <a:lnTo>
                    <a:pt x="11871" y="2000"/>
                  </a:lnTo>
                  <a:lnTo>
                    <a:pt x="11905" y="2029"/>
                  </a:lnTo>
                  <a:lnTo>
                    <a:pt x="11941" y="2061"/>
                  </a:lnTo>
                  <a:lnTo>
                    <a:pt x="11977" y="2097"/>
                  </a:lnTo>
                  <a:lnTo>
                    <a:pt x="12013" y="2135"/>
                  </a:lnTo>
                  <a:lnTo>
                    <a:pt x="12051" y="2177"/>
                  </a:lnTo>
                  <a:lnTo>
                    <a:pt x="12070" y="2200"/>
                  </a:lnTo>
                  <a:lnTo>
                    <a:pt x="12089" y="2223"/>
                  </a:lnTo>
                  <a:lnTo>
                    <a:pt x="12110" y="2248"/>
                  </a:lnTo>
                  <a:lnTo>
                    <a:pt x="12129" y="2274"/>
                  </a:lnTo>
                  <a:lnTo>
                    <a:pt x="12157" y="2310"/>
                  </a:lnTo>
                  <a:lnTo>
                    <a:pt x="12182" y="2345"/>
                  </a:lnTo>
                  <a:lnTo>
                    <a:pt x="12204" y="2381"/>
                  </a:lnTo>
                  <a:lnTo>
                    <a:pt x="12221" y="2416"/>
                  </a:lnTo>
                  <a:lnTo>
                    <a:pt x="12237" y="2451"/>
                  </a:lnTo>
                  <a:lnTo>
                    <a:pt x="12247" y="2484"/>
                  </a:lnTo>
                  <a:lnTo>
                    <a:pt x="12254" y="2517"/>
                  </a:lnTo>
                  <a:lnTo>
                    <a:pt x="12258" y="2547"/>
                  </a:lnTo>
                  <a:lnTo>
                    <a:pt x="12258" y="2561"/>
                  </a:lnTo>
                  <a:lnTo>
                    <a:pt x="12257" y="2575"/>
                  </a:lnTo>
                  <a:lnTo>
                    <a:pt x="12255" y="2588"/>
                  </a:lnTo>
                  <a:lnTo>
                    <a:pt x="12253" y="2600"/>
                  </a:lnTo>
                  <a:lnTo>
                    <a:pt x="12249" y="2612"/>
                  </a:lnTo>
                  <a:lnTo>
                    <a:pt x="12244" y="2623"/>
                  </a:lnTo>
                  <a:lnTo>
                    <a:pt x="12238" y="2632"/>
                  </a:lnTo>
                  <a:lnTo>
                    <a:pt x="12231" y="2642"/>
                  </a:lnTo>
                  <a:lnTo>
                    <a:pt x="12222" y="2650"/>
                  </a:lnTo>
                  <a:lnTo>
                    <a:pt x="12212" y="2658"/>
                  </a:lnTo>
                  <a:lnTo>
                    <a:pt x="12202" y="2664"/>
                  </a:lnTo>
                  <a:lnTo>
                    <a:pt x="12189" y="2670"/>
                  </a:lnTo>
                  <a:lnTo>
                    <a:pt x="12177" y="2674"/>
                  </a:lnTo>
                  <a:lnTo>
                    <a:pt x="12162" y="2677"/>
                  </a:lnTo>
                  <a:lnTo>
                    <a:pt x="12147" y="2679"/>
                  </a:lnTo>
                  <a:lnTo>
                    <a:pt x="12129" y="2679"/>
                  </a:lnTo>
                  <a:lnTo>
                    <a:pt x="12035" y="2679"/>
                  </a:lnTo>
                  <a:lnTo>
                    <a:pt x="12008" y="2679"/>
                  </a:lnTo>
                  <a:lnTo>
                    <a:pt x="11980" y="2680"/>
                  </a:lnTo>
                  <a:lnTo>
                    <a:pt x="11954" y="2681"/>
                  </a:lnTo>
                  <a:lnTo>
                    <a:pt x="11930" y="2682"/>
                  </a:lnTo>
                  <a:lnTo>
                    <a:pt x="11906" y="2684"/>
                  </a:lnTo>
                  <a:lnTo>
                    <a:pt x="11885" y="2685"/>
                  </a:lnTo>
                  <a:lnTo>
                    <a:pt x="11863" y="2687"/>
                  </a:lnTo>
                  <a:lnTo>
                    <a:pt x="11843" y="2690"/>
                  </a:lnTo>
                  <a:lnTo>
                    <a:pt x="11806" y="2695"/>
                  </a:lnTo>
                  <a:lnTo>
                    <a:pt x="11772" y="2702"/>
                  </a:lnTo>
                  <a:lnTo>
                    <a:pt x="11741" y="2710"/>
                  </a:lnTo>
                  <a:lnTo>
                    <a:pt x="11712" y="2718"/>
                  </a:lnTo>
                  <a:lnTo>
                    <a:pt x="11686" y="2727"/>
                  </a:lnTo>
                  <a:lnTo>
                    <a:pt x="11660" y="2737"/>
                  </a:lnTo>
                  <a:lnTo>
                    <a:pt x="11611" y="2758"/>
                  </a:lnTo>
                  <a:lnTo>
                    <a:pt x="11586" y="2769"/>
                  </a:lnTo>
                  <a:lnTo>
                    <a:pt x="11561" y="2781"/>
                  </a:lnTo>
                  <a:lnTo>
                    <a:pt x="11535" y="2792"/>
                  </a:lnTo>
                  <a:lnTo>
                    <a:pt x="11506" y="2803"/>
                  </a:lnTo>
                  <a:lnTo>
                    <a:pt x="11519" y="2802"/>
                  </a:lnTo>
                  <a:lnTo>
                    <a:pt x="11535" y="2799"/>
                  </a:lnTo>
                  <a:lnTo>
                    <a:pt x="11552" y="2794"/>
                  </a:lnTo>
                  <a:lnTo>
                    <a:pt x="11572" y="2788"/>
                  </a:lnTo>
                  <a:lnTo>
                    <a:pt x="11594" y="2783"/>
                  </a:lnTo>
                  <a:lnTo>
                    <a:pt x="11615" y="2778"/>
                  </a:lnTo>
                  <a:lnTo>
                    <a:pt x="11639" y="2775"/>
                  </a:lnTo>
                  <a:lnTo>
                    <a:pt x="11662" y="2773"/>
                  </a:lnTo>
                  <a:lnTo>
                    <a:pt x="11709" y="2774"/>
                  </a:lnTo>
                  <a:lnTo>
                    <a:pt x="11733" y="2775"/>
                  </a:lnTo>
                  <a:lnTo>
                    <a:pt x="11757" y="2777"/>
                  </a:lnTo>
                  <a:lnTo>
                    <a:pt x="11781" y="2781"/>
                  </a:lnTo>
                  <a:lnTo>
                    <a:pt x="11803" y="2787"/>
                  </a:lnTo>
                  <a:lnTo>
                    <a:pt x="11826" y="2795"/>
                  </a:lnTo>
                  <a:lnTo>
                    <a:pt x="11849" y="2805"/>
                  </a:lnTo>
                  <a:lnTo>
                    <a:pt x="11870" y="2819"/>
                  </a:lnTo>
                  <a:lnTo>
                    <a:pt x="11890" y="2835"/>
                  </a:lnTo>
                  <a:lnTo>
                    <a:pt x="11910" y="2856"/>
                  </a:lnTo>
                  <a:lnTo>
                    <a:pt x="11920" y="2867"/>
                  </a:lnTo>
                  <a:lnTo>
                    <a:pt x="11928" y="2880"/>
                  </a:lnTo>
                  <a:lnTo>
                    <a:pt x="11937" y="2894"/>
                  </a:lnTo>
                  <a:lnTo>
                    <a:pt x="11946" y="2908"/>
                  </a:lnTo>
                  <a:lnTo>
                    <a:pt x="11954" y="2925"/>
                  </a:lnTo>
                  <a:lnTo>
                    <a:pt x="11961" y="2942"/>
                  </a:lnTo>
                  <a:lnTo>
                    <a:pt x="11968" y="2961"/>
                  </a:lnTo>
                  <a:lnTo>
                    <a:pt x="11976" y="2981"/>
                  </a:lnTo>
                  <a:lnTo>
                    <a:pt x="11982" y="3002"/>
                  </a:lnTo>
                  <a:lnTo>
                    <a:pt x="11988" y="3025"/>
                  </a:lnTo>
                  <a:lnTo>
                    <a:pt x="11989" y="3058"/>
                  </a:lnTo>
                  <a:lnTo>
                    <a:pt x="11988" y="3088"/>
                  </a:lnTo>
                  <a:lnTo>
                    <a:pt x="11987" y="3117"/>
                  </a:lnTo>
                  <a:lnTo>
                    <a:pt x="11986" y="3142"/>
                  </a:lnTo>
                  <a:lnTo>
                    <a:pt x="11983" y="3166"/>
                  </a:lnTo>
                  <a:lnTo>
                    <a:pt x="11980" y="3188"/>
                  </a:lnTo>
                  <a:lnTo>
                    <a:pt x="11976" y="3207"/>
                  </a:lnTo>
                  <a:lnTo>
                    <a:pt x="11970" y="3226"/>
                  </a:lnTo>
                  <a:lnTo>
                    <a:pt x="11963" y="3241"/>
                  </a:lnTo>
                  <a:lnTo>
                    <a:pt x="11956" y="3256"/>
                  </a:lnTo>
                  <a:lnTo>
                    <a:pt x="11947" y="3268"/>
                  </a:lnTo>
                  <a:lnTo>
                    <a:pt x="11936" y="3278"/>
                  </a:lnTo>
                  <a:lnTo>
                    <a:pt x="11925" y="3288"/>
                  </a:lnTo>
                  <a:lnTo>
                    <a:pt x="11912" y="3296"/>
                  </a:lnTo>
                  <a:lnTo>
                    <a:pt x="11897" y="3302"/>
                  </a:lnTo>
                  <a:lnTo>
                    <a:pt x="11881" y="3307"/>
                  </a:lnTo>
                  <a:lnTo>
                    <a:pt x="11905" y="3298"/>
                  </a:lnTo>
                  <a:lnTo>
                    <a:pt x="11928" y="3291"/>
                  </a:lnTo>
                  <a:lnTo>
                    <a:pt x="11952" y="3284"/>
                  </a:lnTo>
                  <a:lnTo>
                    <a:pt x="11965" y="3282"/>
                  </a:lnTo>
                  <a:lnTo>
                    <a:pt x="11979" y="3280"/>
                  </a:lnTo>
                  <a:lnTo>
                    <a:pt x="11994" y="3278"/>
                  </a:lnTo>
                  <a:lnTo>
                    <a:pt x="12011" y="3277"/>
                  </a:lnTo>
                  <a:lnTo>
                    <a:pt x="12029" y="3275"/>
                  </a:lnTo>
                  <a:lnTo>
                    <a:pt x="12050" y="3274"/>
                  </a:lnTo>
                  <a:lnTo>
                    <a:pt x="12074" y="3273"/>
                  </a:lnTo>
                  <a:lnTo>
                    <a:pt x="12100" y="3273"/>
                  </a:lnTo>
                  <a:lnTo>
                    <a:pt x="12128" y="3272"/>
                  </a:lnTo>
                  <a:lnTo>
                    <a:pt x="12160" y="3271"/>
                  </a:lnTo>
                  <a:lnTo>
                    <a:pt x="12184" y="3272"/>
                  </a:lnTo>
                  <a:lnTo>
                    <a:pt x="12208" y="3275"/>
                  </a:lnTo>
                  <a:lnTo>
                    <a:pt x="12232" y="3279"/>
                  </a:lnTo>
                  <a:lnTo>
                    <a:pt x="12255" y="3284"/>
                  </a:lnTo>
                  <a:lnTo>
                    <a:pt x="12279" y="3293"/>
                  </a:lnTo>
                  <a:lnTo>
                    <a:pt x="12302" y="3301"/>
                  </a:lnTo>
                  <a:lnTo>
                    <a:pt x="12325" y="3311"/>
                  </a:lnTo>
                  <a:lnTo>
                    <a:pt x="12346" y="3324"/>
                  </a:lnTo>
                  <a:lnTo>
                    <a:pt x="12367" y="3336"/>
                  </a:lnTo>
                  <a:lnTo>
                    <a:pt x="12386" y="3350"/>
                  </a:lnTo>
                  <a:lnTo>
                    <a:pt x="12404" y="3366"/>
                  </a:lnTo>
                  <a:lnTo>
                    <a:pt x="12422" y="3382"/>
                  </a:lnTo>
                  <a:lnTo>
                    <a:pt x="12437" y="3400"/>
                  </a:lnTo>
                  <a:lnTo>
                    <a:pt x="12450" y="3418"/>
                  </a:lnTo>
                  <a:lnTo>
                    <a:pt x="12463" y="3438"/>
                  </a:lnTo>
                  <a:lnTo>
                    <a:pt x="12472" y="3459"/>
                  </a:lnTo>
                  <a:lnTo>
                    <a:pt x="12481" y="3479"/>
                  </a:lnTo>
                  <a:lnTo>
                    <a:pt x="12490" y="3499"/>
                  </a:lnTo>
                  <a:lnTo>
                    <a:pt x="12498" y="3518"/>
                  </a:lnTo>
                  <a:lnTo>
                    <a:pt x="12505" y="3537"/>
                  </a:lnTo>
                  <a:lnTo>
                    <a:pt x="12511" y="3555"/>
                  </a:lnTo>
                  <a:lnTo>
                    <a:pt x="12516" y="3574"/>
                  </a:lnTo>
                  <a:lnTo>
                    <a:pt x="12518" y="3592"/>
                  </a:lnTo>
                  <a:lnTo>
                    <a:pt x="12518" y="3612"/>
                  </a:lnTo>
                  <a:lnTo>
                    <a:pt x="12514" y="3633"/>
                  </a:lnTo>
                  <a:lnTo>
                    <a:pt x="12508" y="3654"/>
                  </a:lnTo>
                  <a:lnTo>
                    <a:pt x="12499" y="3677"/>
                  </a:lnTo>
                  <a:lnTo>
                    <a:pt x="12493" y="3688"/>
                  </a:lnTo>
                  <a:lnTo>
                    <a:pt x="12486" y="3701"/>
                  </a:lnTo>
                  <a:lnTo>
                    <a:pt x="12477" y="3714"/>
                  </a:lnTo>
                  <a:lnTo>
                    <a:pt x="12468" y="3727"/>
                  </a:lnTo>
                  <a:lnTo>
                    <a:pt x="12458" y="3742"/>
                  </a:lnTo>
                  <a:lnTo>
                    <a:pt x="12445" y="3756"/>
                  </a:lnTo>
                  <a:lnTo>
                    <a:pt x="12433" y="3771"/>
                  </a:lnTo>
                  <a:lnTo>
                    <a:pt x="12418" y="3787"/>
                  </a:lnTo>
                  <a:lnTo>
                    <a:pt x="12403" y="3804"/>
                  </a:lnTo>
                  <a:lnTo>
                    <a:pt x="12386" y="3820"/>
                  </a:lnTo>
                  <a:lnTo>
                    <a:pt x="12404" y="3804"/>
                  </a:lnTo>
                  <a:lnTo>
                    <a:pt x="12423" y="3788"/>
                  </a:lnTo>
                  <a:lnTo>
                    <a:pt x="12441" y="3774"/>
                  </a:lnTo>
                  <a:lnTo>
                    <a:pt x="12461" y="3760"/>
                  </a:lnTo>
                  <a:lnTo>
                    <a:pt x="12481" y="3748"/>
                  </a:lnTo>
                  <a:lnTo>
                    <a:pt x="12501" y="3737"/>
                  </a:lnTo>
                  <a:lnTo>
                    <a:pt x="12523" y="3726"/>
                  </a:lnTo>
                  <a:lnTo>
                    <a:pt x="12543" y="3717"/>
                  </a:lnTo>
                  <a:lnTo>
                    <a:pt x="12587" y="3702"/>
                  </a:lnTo>
                  <a:lnTo>
                    <a:pt x="12631" y="3690"/>
                  </a:lnTo>
                  <a:lnTo>
                    <a:pt x="12677" y="3682"/>
                  </a:lnTo>
                  <a:lnTo>
                    <a:pt x="12722" y="3677"/>
                  </a:lnTo>
                  <a:lnTo>
                    <a:pt x="12739" y="3676"/>
                  </a:lnTo>
                  <a:lnTo>
                    <a:pt x="12755" y="3676"/>
                  </a:lnTo>
                  <a:lnTo>
                    <a:pt x="12773" y="3677"/>
                  </a:lnTo>
                  <a:lnTo>
                    <a:pt x="12789" y="3679"/>
                  </a:lnTo>
                  <a:lnTo>
                    <a:pt x="12806" y="3683"/>
                  </a:lnTo>
                  <a:lnTo>
                    <a:pt x="12821" y="3689"/>
                  </a:lnTo>
                  <a:lnTo>
                    <a:pt x="12835" y="3697"/>
                  </a:lnTo>
                  <a:lnTo>
                    <a:pt x="12846" y="3708"/>
                  </a:lnTo>
                  <a:lnTo>
                    <a:pt x="12861" y="3724"/>
                  </a:lnTo>
                  <a:lnTo>
                    <a:pt x="12875" y="3740"/>
                  </a:lnTo>
                  <a:lnTo>
                    <a:pt x="12887" y="3755"/>
                  </a:lnTo>
                  <a:lnTo>
                    <a:pt x="12899" y="3770"/>
                  </a:lnTo>
                  <a:lnTo>
                    <a:pt x="12908" y="3784"/>
                  </a:lnTo>
                  <a:lnTo>
                    <a:pt x="12916" y="3799"/>
                  </a:lnTo>
                  <a:lnTo>
                    <a:pt x="12922" y="3816"/>
                  </a:lnTo>
                  <a:lnTo>
                    <a:pt x="12927" y="3834"/>
                  </a:lnTo>
                  <a:lnTo>
                    <a:pt x="12931" y="3854"/>
                  </a:lnTo>
                  <a:lnTo>
                    <a:pt x="12932" y="3876"/>
                  </a:lnTo>
                  <a:lnTo>
                    <a:pt x="12931" y="3900"/>
                  </a:lnTo>
                  <a:lnTo>
                    <a:pt x="12928" y="3928"/>
                  </a:lnTo>
                  <a:lnTo>
                    <a:pt x="12924" y="3959"/>
                  </a:lnTo>
                  <a:lnTo>
                    <a:pt x="12921" y="3977"/>
                  </a:lnTo>
                  <a:lnTo>
                    <a:pt x="12917" y="3995"/>
                  </a:lnTo>
                  <a:lnTo>
                    <a:pt x="12913" y="4014"/>
                  </a:lnTo>
                  <a:lnTo>
                    <a:pt x="12909" y="4034"/>
                  </a:lnTo>
                  <a:lnTo>
                    <a:pt x="12904" y="4056"/>
                  </a:lnTo>
                  <a:lnTo>
                    <a:pt x="12899" y="4079"/>
                  </a:lnTo>
                  <a:lnTo>
                    <a:pt x="12892" y="4108"/>
                  </a:lnTo>
                  <a:lnTo>
                    <a:pt x="12885" y="4139"/>
                  </a:lnTo>
                  <a:lnTo>
                    <a:pt x="12870" y="4203"/>
                  </a:lnTo>
                  <a:lnTo>
                    <a:pt x="12853" y="4269"/>
                  </a:lnTo>
                  <a:lnTo>
                    <a:pt x="12835" y="4337"/>
                  </a:lnTo>
                  <a:lnTo>
                    <a:pt x="12815" y="4405"/>
                  </a:lnTo>
                  <a:lnTo>
                    <a:pt x="12795" y="4473"/>
                  </a:lnTo>
                  <a:lnTo>
                    <a:pt x="12775" y="4539"/>
                  </a:lnTo>
                  <a:lnTo>
                    <a:pt x="12755" y="4602"/>
                  </a:lnTo>
                  <a:lnTo>
                    <a:pt x="12746" y="4633"/>
                  </a:lnTo>
                  <a:lnTo>
                    <a:pt x="12736" y="4662"/>
                  </a:lnTo>
                  <a:lnTo>
                    <a:pt x="12727" y="4690"/>
                  </a:lnTo>
                  <a:lnTo>
                    <a:pt x="12719" y="4717"/>
                  </a:lnTo>
                  <a:lnTo>
                    <a:pt x="12710" y="4742"/>
                  </a:lnTo>
                  <a:lnTo>
                    <a:pt x="12702" y="4766"/>
                  </a:lnTo>
                  <a:lnTo>
                    <a:pt x="12695" y="4788"/>
                  </a:lnTo>
                  <a:lnTo>
                    <a:pt x="12688" y="4809"/>
                  </a:lnTo>
                  <a:lnTo>
                    <a:pt x="12682" y="4827"/>
                  </a:lnTo>
                  <a:lnTo>
                    <a:pt x="12676" y="4844"/>
                  </a:lnTo>
                  <a:lnTo>
                    <a:pt x="12671" y="4858"/>
                  </a:lnTo>
                  <a:lnTo>
                    <a:pt x="12667" y="4870"/>
                  </a:lnTo>
                  <a:lnTo>
                    <a:pt x="12664" y="4879"/>
                  </a:lnTo>
                  <a:lnTo>
                    <a:pt x="12661" y="4886"/>
                  </a:lnTo>
                  <a:lnTo>
                    <a:pt x="12660" y="4890"/>
                  </a:lnTo>
                  <a:lnTo>
                    <a:pt x="12659" y="4892"/>
                  </a:lnTo>
                  <a:lnTo>
                    <a:pt x="12661" y="4890"/>
                  </a:lnTo>
                  <a:lnTo>
                    <a:pt x="12664" y="4886"/>
                  </a:lnTo>
                  <a:lnTo>
                    <a:pt x="12670" y="4878"/>
                  </a:lnTo>
                  <a:lnTo>
                    <a:pt x="12679" y="4867"/>
                  </a:lnTo>
                  <a:lnTo>
                    <a:pt x="12689" y="4852"/>
                  </a:lnTo>
                  <a:lnTo>
                    <a:pt x="12701" y="4836"/>
                  </a:lnTo>
                  <a:lnTo>
                    <a:pt x="12716" y="4815"/>
                  </a:lnTo>
                  <a:lnTo>
                    <a:pt x="12731" y="4791"/>
                  </a:lnTo>
                  <a:lnTo>
                    <a:pt x="12749" y="4765"/>
                  </a:lnTo>
                  <a:lnTo>
                    <a:pt x="12767" y="4735"/>
                  </a:lnTo>
                  <a:lnTo>
                    <a:pt x="12786" y="4702"/>
                  </a:lnTo>
                  <a:lnTo>
                    <a:pt x="12807" y="4666"/>
                  </a:lnTo>
                  <a:lnTo>
                    <a:pt x="12828" y="4627"/>
                  </a:lnTo>
                  <a:lnTo>
                    <a:pt x="12850" y="4584"/>
                  </a:lnTo>
                  <a:lnTo>
                    <a:pt x="12873" y="4538"/>
                  </a:lnTo>
                  <a:lnTo>
                    <a:pt x="12895" y="4490"/>
                  </a:lnTo>
                  <a:lnTo>
                    <a:pt x="12918" y="4438"/>
                  </a:lnTo>
                  <a:lnTo>
                    <a:pt x="12941" y="4384"/>
                  </a:lnTo>
                  <a:lnTo>
                    <a:pt x="12964" y="4326"/>
                  </a:lnTo>
                  <a:lnTo>
                    <a:pt x="12986" y="4264"/>
                  </a:lnTo>
                  <a:lnTo>
                    <a:pt x="13008" y="4200"/>
                  </a:lnTo>
                  <a:lnTo>
                    <a:pt x="13030" y="4133"/>
                  </a:lnTo>
                  <a:lnTo>
                    <a:pt x="13050" y="4063"/>
                  </a:lnTo>
                  <a:lnTo>
                    <a:pt x="13070" y="3990"/>
                  </a:lnTo>
                  <a:lnTo>
                    <a:pt x="13088" y="3914"/>
                  </a:lnTo>
                  <a:lnTo>
                    <a:pt x="13106" y="3833"/>
                  </a:lnTo>
                  <a:lnTo>
                    <a:pt x="13123" y="3751"/>
                  </a:lnTo>
                  <a:lnTo>
                    <a:pt x="13137" y="3666"/>
                  </a:lnTo>
                  <a:lnTo>
                    <a:pt x="13150" y="3577"/>
                  </a:lnTo>
                  <a:lnTo>
                    <a:pt x="13161" y="3485"/>
                  </a:lnTo>
                  <a:lnTo>
                    <a:pt x="13170" y="3391"/>
                  </a:lnTo>
                  <a:lnTo>
                    <a:pt x="13177" y="3293"/>
                  </a:lnTo>
                  <a:lnTo>
                    <a:pt x="13179" y="3239"/>
                  </a:lnTo>
                  <a:lnTo>
                    <a:pt x="13181" y="3188"/>
                  </a:lnTo>
                  <a:lnTo>
                    <a:pt x="13183" y="3136"/>
                  </a:lnTo>
                  <a:lnTo>
                    <a:pt x="13184" y="3087"/>
                  </a:lnTo>
                  <a:lnTo>
                    <a:pt x="13186" y="3037"/>
                  </a:lnTo>
                  <a:lnTo>
                    <a:pt x="13186" y="2990"/>
                  </a:lnTo>
                  <a:lnTo>
                    <a:pt x="13186" y="2944"/>
                  </a:lnTo>
                  <a:lnTo>
                    <a:pt x="13186" y="2898"/>
                  </a:lnTo>
                  <a:lnTo>
                    <a:pt x="13184" y="2854"/>
                  </a:lnTo>
                  <a:lnTo>
                    <a:pt x="13182" y="2811"/>
                  </a:lnTo>
                  <a:lnTo>
                    <a:pt x="13181" y="2768"/>
                  </a:lnTo>
                  <a:lnTo>
                    <a:pt x="13179" y="2727"/>
                  </a:lnTo>
                  <a:lnTo>
                    <a:pt x="13177" y="2687"/>
                  </a:lnTo>
                  <a:lnTo>
                    <a:pt x="13174" y="2648"/>
                  </a:lnTo>
                  <a:lnTo>
                    <a:pt x="13169" y="2573"/>
                  </a:lnTo>
                  <a:lnTo>
                    <a:pt x="13162" y="2502"/>
                  </a:lnTo>
                  <a:lnTo>
                    <a:pt x="13155" y="2435"/>
                  </a:lnTo>
                  <a:lnTo>
                    <a:pt x="13147" y="2371"/>
                  </a:lnTo>
                  <a:lnTo>
                    <a:pt x="13139" y="2310"/>
                  </a:lnTo>
                  <a:lnTo>
                    <a:pt x="13130" y="2253"/>
                  </a:lnTo>
                  <a:lnTo>
                    <a:pt x="13121" y="2200"/>
                  </a:lnTo>
                  <a:lnTo>
                    <a:pt x="13112" y="2149"/>
                  </a:lnTo>
                  <a:lnTo>
                    <a:pt x="13104" y="2102"/>
                  </a:lnTo>
                  <a:lnTo>
                    <a:pt x="13096" y="2058"/>
                  </a:lnTo>
                  <a:lnTo>
                    <a:pt x="13088" y="2015"/>
                  </a:lnTo>
                  <a:lnTo>
                    <a:pt x="13081" y="1977"/>
                  </a:lnTo>
                  <a:lnTo>
                    <a:pt x="13075" y="1940"/>
                  </a:lnTo>
                  <a:lnTo>
                    <a:pt x="13070" y="1906"/>
                  </a:lnTo>
                  <a:lnTo>
                    <a:pt x="13067" y="1875"/>
                  </a:lnTo>
                  <a:lnTo>
                    <a:pt x="13064" y="1845"/>
                  </a:lnTo>
                  <a:lnTo>
                    <a:pt x="13063" y="1818"/>
                  </a:lnTo>
                  <a:lnTo>
                    <a:pt x="13063" y="1793"/>
                  </a:lnTo>
                  <a:lnTo>
                    <a:pt x="13065" y="1769"/>
                  </a:lnTo>
                  <a:lnTo>
                    <a:pt x="13069" y="1748"/>
                  </a:lnTo>
                  <a:lnTo>
                    <a:pt x="13075" y="1727"/>
                  </a:lnTo>
                  <a:lnTo>
                    <a:pt x="13084" y="1708"/>
                  </a:lnTo>
                  <a:lnTo>
                    <a:pt x="13095" y="1691"/>
                  </a:lnTo>
                  <a:lnTo>
                    <a:pt x="13108" y="1674"/>
                  </a:lnTo>
                  <a:lnTo>
                    <a:pt x="13125" y="1659"/>
                  </a:lnTo>
                  <a:lnTo>
                    <a:pt x="13140" y="1643"/>
                  </a:lnTo>
                  <a:lnTo>
                    <a:pt x="13157" y="1627"/>
                  </a:lnTo>
                  <a:lnTo>
                    <a:pt x="13174" y="1613"/>
                  </a:lnTo>
                  <a:lnTo>
                    <a:pt x="13193" y="1599"/>
                  </a:lnTo>
                  <a:lnTo>
                    <a:pt x="13212" y="1587"/>
                  </a:lnTo>
                  <a:lnTo>
                    <a:pt x="13233" y="1576"/>
                  </a:lnTo>
                  <a:lnTo>
                    <a:pt x="13277" y="1556"/>
                  </a:lnTo>
                  <a:lnTo>
                    <a:pt x="13326" y="1539"/>
                  </a:lnTo>
                  <a:lnTo>
                    <a:pt x="13376" y="1522"/>
                  </a:lnTo>
                  <a:lnTo>
                    <a:pt x="13429" y="1507"/>
                  </a:lnTo>
                  <a:lnTo>
                    <a:pt x="13484" y="1491"/>
                  </a:lnTo>
                  <a:lnTo>
                    <a:pt x="13541" y="1476"/>
                  </a:lnTo>
                  <a:lnTo>
                    <a:pt x="13597" y="1458"/>
                  </a:lnTo>
                  <a:lnTo>
                    <a:pt x="13655" y="1439"/>
                  </a:lnTo>
                  <a:lnTo>
                    <a:pt x="13714" y="1416"/>
                  </a:lnTo>
                  <a:lnTo>
                    <a:pt x="13742" y="1403"/>
                  </a:lnTo>
                  <a:lnTo>
                    <a:pt x="13771" y="1389"/>
                  </a:lnTo>
                  <a:lnTo>
                    <a:pt x="13800" y="1374"/>
                  </a:lnTo>
                  <a:lnTo>
                    <a:pt x="13828" y="1357"/>
                  </a:lnTo>
                  <a:lnTo>
                    <a:pt x="13855" y="1340"/>
                  </a:lnTo>
                  <a:lnTo>
                    <a:pt x="13883" y="1320"/>
                  </a:lnTo>
                  <a:lnTo>
                    <a:pt x="13910" y="1300"/>
                  </a:lnTo>
                  <a:lnTo>
                    <a:pt x="13937" y="1277"/>
                  </a:lnTo>
                  <a:lnTo>
                    <a:pt x="13957" y="1262"/>
                  </a:lnTo>
                  <a:lnTo>
                    <a:pt x="13976" y="1246"/>
                  </a:lnTo>
                  <a:lnTo>
                    <a:pt x="14012" y="1211"/>
                  </a:lnTo>
                  <a:lnTo>
                    <a:pt x="14045" y="1173"/>
                  </a:lnTo>
                  <a:lnTo>
                    <a:pt x="14076" y="1134"/>
                  </a:lnTo>
                  <a:lnTo>
                    <a:pt x="14105" y="1093"/>
                  </a:lnTo>
                  <a:lnTo>
                    <a:pt x="14133" y="1050"/>
                  </a:lnTo>
                  <a:lnTo>
                    <a:pt x="14160" y="1009"/>
                  </a:lnTo>
                  <a:lnTo>
                    <a:pt x="14187" y="969"/>
                  </a:lnTo>
                  <a:lnTo>
                    <a:pt x="14213" y="931"/>
                  </a:lnTo>
                  <a:lnTo>
                    <a:pt x="14240" y="895"/>
                  </a:lnTo>
                  <a:lnTo>
                    <a:pt x="14253" y="878"/>
                  </a:lnTo>
                  <a:lnTo>
                    <a:pt x="14267" y="863"/>
                  </a:lnTo>
                  <a:lnTo>
                    <a:pt x="14282" y="847"/>
                  </a:lnTo>
                  <a:lnTo>
                    <a:pt x="14296" y="834"/>
                  </a:lnTo>
                  <a:lnTo>
                    <a:pt x="14312" y="822"/>
                  </a:lnTo>
                  <a:lnTo>
                    <a:pt x="14327" y="811"/>
                  </a:lnTo>
                  <a:lnTo>
                    <a:pt x="14344" y="801"/>
                  </a:lnTo>
                  <a:lnTo>
                    <a:pt x="14360" y="793"/>
                  </a:lnTo>
                  <a:lnTo>
                    <a:pt x="14379" y="787"/>
                  </a:lnTo>
                  <a:lnTo>
                    <a:pt x="14396" y="782"/>
                  </a:lnTo>
                  <a:lnTo>
                    <a:pt x="14416" y="779"/>
                  </a:lnTo>
                  <a:lnTo>
                    <a:pt x="14436" y="778"/>
                  </a:lnTo>
                  <a:lnTo>
                    <a:pt x="14451" y="779"/>
                  </a:lnTo>
                  <a:lnTo>
                    <a:pt x="14470" y="785"/>
                  </a:lnTo>
                  <a:lnTo>
                    <a:pt x="14489" y="793"/>
                  </a:lnTo>
                  <a:lnTo>
                    <a:pt x="14510" y="805"/>
                  </a:lnTo>
                  <a:lnTo>
                    <a:pt x="14534" y="821"/>
                  </a:lnTo>
                  <a:lnTo>
                    <a:pt x="14557" y="840"/>
                  </a:lnTo>
                  <a:lnTo>
                    <a:pt x="14571" y="851"/>
                  </a:lnTo>
                  <a:lnTo>
                    <a:pt x="14583" y="864"/>
                  </a:lnTo>
                  <a:lnTo>
                    <a:pt x="14597" y="877"/>
                  </a:lnTo>
                  <a:lnTo>
                    <a:pt x="14610" y="892"/>
                  </a:lnTo>
                  <a:lnTo>
                    <a:pt x="14625" y="907"/>
                  </a:lnTo>
                  <a:lnTo>
                    <a:pt x="14638" y="924"/>
                  </a:lnTo>
                  <a:lnTo>
                    <a:pt x="14652" y="942"/>
                  </a:lnTo>
                  <a:lnTo>
                    <a:pt x="14667" y="961"/>
                  </a:lnTo>
                  <a:lnTo>
                    <a:pt x="14681" y="981"/>
                  </a:lnTo>
                  <a:lnTo>
                    <a:pt x="14696" y="1003"/>
                  </a:lnTo>
                  <a:lnTo>
                    <a:pt x="14711" y="1026"/>
                  </a:lnTo>
                  <a:lnTo>
                    <a:pt x="14727" y="1049"/>
                  </a:lnTo>
                  <a:lnTo>
                    <a:pt x="14741" y="1075"/>
                  </a:lnTo>
                  <a:lnTo>
                    <a:pt x="14757" y="1101"/>
                  </a:lnTo>
                  <a:lnTo>
                    <a:pt x="14772" y="1129"/>
                  </a:lnTo>
                  <a:lnTo>
                    <a:pt x="14788" y="1158"/>
                  </a:lnTo>
                  <a:lnTo>
                    <a:pt x="14803" y="1188"/>
                  </a:lnTo>
                  <a:lnTo>
                    <a:pt x="14818" y="1220"/>
                  </a:lnTo>
                  <a:lnTo>
                    <a:pt x="14833" y="1254"/>
                  </a:lnTo>
                  <a:lnTo>
                    <a:pt x="14849" y="1288"/>
                  </a:lnTo>
                  <a:lnTo>
                    <a:pt x="14864" y="1324"/>
                  </a:lnTo>
                  <a:lnTo>
                    <a:pt x="14880" y="1362"/>
                  </a:lnTo>
                  <a:lnTo>
                    <a:pt x="14894" y="1402"/>
                  </a:lnTo>
                  <a:lnTo>
                    <a:pt x="14909" y="1442"/>
                  </a:lnTo>
                  <a:lnTo>
                    <a:pt x="14925" y="1484"/>
                  </a:lnTo>
                  <a:lnTo>
                    <a:pt x="14939" y="1527"/>
                  </a:lnTo>
                  <a:lnTo>
                    <a:pt x="14954" y="1573"/>
                  </a:lnTo>
                  <a:lnTo>
                    <a:pt x="14968" y="1620"/>
                  </a:lnTo>
                  <a:lnTo>
                    <a:pt x="14983" y="1668"/>
                  </a:lnTo>
                  <a:lnTo>
                    <a:pt x="14997" y="1718"/>
                  </a:lnTo>
                  <a:lnTo>
                    <a:pt x="15011" y="1770"/>
                  </a:lnTo>
                  <a:lnTo>
                    <a:pt x="15024" y="1823"/>
                  </a:lnTo>
                  <a:lnTo>
                    <a:pt x="15037" y="1878"/>
                  </a:lnTo>
                  <a:lnTo>
                    <a:pt x="15051" y="1935"/>
                  </a:lnTo>
                  <a:lnTo>
                    <a:pt x="15063" y="1994"/>
                  </a:lnTo>
                  <a:lnTo>
                    <a:pt x="15076" y="2054"/>
                  </a:lnTo>
                  <a:lnTo>
                    <a:pt x="15088" y="2115"/>
                  </a:lnTo>
                  <a:lnTo>
                    <a:pt x="15099" y="2179"/>
                  </a:lnTo>
                  <a:lnTo>
                    <a:pt x="15111" y="2245"/>
                  </a:lnTo>
                  <a:lnTo>
                    <a:pt x="15121" y="2312"/>
                  </a:lnTo>
                  <a:lnTo>
                    <a:pt x="15132" y="2381"/>
                  </a:lnTo>
                  <a:lnTo>
                    <a:pt x="15142" y="2452"/>
                  </a:lnTo>
                  <a:lnTo>
                    <a:pt x="15152" y="2525"/>
                  </a:lnTo>
                  <a:lnTo>
                    <a:pt x="15161" y="2600"/>
                  </a:lnTo>
                  <a:lnTo>
                    <a:pt x="15170" y="2678"/>
                  </a:lnTo>
                  <a:lnTo>
                    <a:pt x="15178" y="2756"/>
                  </a:lnTo>
                  <a:lnTo>
                    <a:pt x="15185" y="2837"/>
                  </a:lnTo>
                  <a:lnTo>
                    <a:pt x="15192" y="2920"/>
                  </a:lnTo>
                  <a:lnTo>
                    <a:pt x="15199" y="3004"/>
                  </a:lnTo>
                  <a:lnTo>
                    <a:pt x="15205" y="3092"/>
                  </a:lnTo>
                  <a:lnTo>
                    <a:pt x="15210" y="3180"/>
                  </a:lnTo>
                  <a:lnTo>
                    <a:pt x="15215" y="3271"/>
                  </a:lnTo>
                  <a:lnTo>
                    <a:pt x="15218" y="3383"/>
                  </a:lnTo>
                  <a:lnTo>
                    <a:pt x="15219" y="3494"/>
                  </a:lnTo>
                  <a:lnTo>
                    <a:pt x="15219" y="3602"/>
                  </a:lnTo>
                  <a:lnTo>
                    <a:pt x="15217" y="3709"/>
                  </a:lnTo>
                  <a:lnTo>
                    <a:pt x="15212" y="3814"/>
                  </a:lnTo>
                  <a:lnTo>
                    <a:pt x="15206" y="3917"/>
                  </a:lnTo>
                  <a:lnTo>
                    <a:pt x="15199" y="4019"/>
                  </a:lnTo>
                  <a:lnTo>
                    <a:pt x="15188" y="4120"/>
                  </a:lnTo>
                  <a:lnTo>
                    <a:pt x="15177" y="4219"/>
                  </a:lnTo>
                  <a:lnTo>
                    <a:pt x="15164" y="4316"/>
                  </a:lnTo>
                  <a:lnTo>
                    <a:pt x="15149" y="4411"/>
                  </a:lnTo>
                  <a:lnTo>
                    <a:pt x="15133" y="4505"/>
                  </a:lnTo>
                  <a:lnTo>
                    <a:pt x="15115" y="4597"/>
                  </a:lnTo>
                  <a:lnTo>
                    <a:pt x="15095" y="4687"/>
                  </a:lnTo>
                  <a:lnTo>
                    <a:pt x="15075" y="4776"/>
                  </a:lnTo>
                  <a:lnTo>
                    <a:pt x="15052" y="4864"/>
                  </a:lnTo>
                  <a:lnTo>
                    <a:pt x="15028" y="4949"/>
                  </a:lnTo>
                  <a:lnTo>
                    <a:pt x="15003" y="5033"/>
                  </a:lnTo>
                  <a:lnTo>
                    <a:pt x="14977" y="5115"/>
                  </a:lnTo>
                  <a:lnTo>
                    <a:pt x="14949" y="5196"/>
                  </a:lnTo>
                  <a:lnTo>
                    <a:pt x="14919" y="5274"/>
                  </a:lnTo>
                  <a:lnTo>
                    <a:pt x="14889" y="5352"/>
                  </a:lnTo>
                  <a:lnTo>
                    <a:pt x="14857" y="5427"/>
                  </a:lnTo>
                  <a:lnTo>
                    <a:pt x="14824" y="5501"/>
                  </a:lnTo>
                  <a:lnTo>
                    <a:pt x="14790" y="5573"/>
                  </a:lnTo>
                  <a:lnTo>
                    <a:pt x="14755" y="5643"/>
                  </a:lnTo>
                  <a:lnTo>
                    <a:pt x="14718" y="5712"/>
                  </a:lnTo>
                  <a:lnTo>
                    <a:pt x="14680" y="5779"/>
                  </a:lnTo>
                  <a:lnTo>
                    <a:pt x="14642" y="5844"/>
                  </a:lnTo>
                  <a:lnTo>
                    <a:pt x="14603" y="5908"/>
                  </a:lnTo>
                  <a:lnTo>
                    <a:pt x="14563" y="5970"/>
                  </a:lnTo>
                  <a:lnTo>
                    <a:pt x="14521" y="6030"/>
                  </a:lnTo>
                  <a:lnTo>
                    <a:pt x="14479" y="6087"/>
                  </a:lnTo>
                  <a:lnTo>
                    <a:pt x="14437" y="6144"/>
                  </a:lnTo>
                  <a:lnTo>
                    <a:pt x="14393" y="6199"/>
                  </a:lnTo>
                  <a:lnTo>
                    <a:pt x="14349" y="6252"/>
                  </a:lnTo>
                  <a:lnTo>
                    <a:pt x="14304" y="6304"/>
                  </a:lnTo>
                  <a:lnTo>
                    <a:pt x="14257" y="6353"/>
                  </a:lnTo>
                  <a:lnTo>
                    <a:pt x="14211" y="6400"/>
                  </a:lnTo>
                  <a:lnTo>
                    <a:pt x="14164" y="6447"/>
                  </a:lnTo>
                  <a:lnTo>
                    <a:pt x="14116" y="6491"/>
                  </a:lnTo>
                  <a:lnTo>
                    <a:pt x="14068" y="6533"/>
                  </a:lnTo>
                  <a:lnTo>
                    <a:pt x="14019" y="6574"/>
                  </a:lnTo>
                  <a:lnTo>
                    <a:pt x="13970" y="6614"/>
                  </a:lnTo>
                  <a:lnTo>
                    <a:pt x="13921" y="6651"/>
                  </a:lnTo>
                  <a:lnTo>
                    <a:pt x="13870" y="6686"/>
                  </a:lnTo>
                  <a:lnTo>
                    <a:pt x="13819" y="6720"/>
                  </a:lnTo>
                  <a:lnTo>
                    <a:pt x="13769" y="6751"/>
                  </a:lnTo>
                  <a:lnTo>
                    <a:pt x="13718" y="6781"/>
                  </a:lnTo>
                  <a:lnTo>
                    <a:pt x="13667" y="6809"/>
                  </a:lnTo>
                  <a:lnTo>
                    <a:pt x="13615" y="6835"/>
                  </a:lnTo>
                  <a:lnTo>
                    <a:pt x="13563" y="6860"/>
                  </a:lnTo>
                  <a:lnTo>
                    <a:pt x="13511" y="6882"/>
                  </a:lnTo>
                  <a:lnTo>
                    <a:pt x="13459" y="6904"/>
                  </a:lnTo>
                  <a:lnTo>
                    <a:pt x="13407" y="6923"/>
                  </a:lnTo>
                  <a:lnTo>
                    <a:pt x="13355" y="6940"/>
                  </a:lnTo>
                  <a:lnTo>
                    <a:pt x="13302" y="6956"/>
                  </a:lnTo>
                  <a:lnTo>
                    <a:pt x="13251" y="6969"/>
                  </a:lnTo>
                  <a:lnTo>
                    <a:pt x="13198" y="6980"/>
                  </a:lnTo>
                  <a:lnTo>
                    <a:pt x="13146" y="6991"/>
                  </a:lnTo>
                  <a:lnTo>
                    <a:pt x="13095" y="6998"/>
                  </a:lnTo>
                  <a:lnTo>
                    <a:pt x="13043" y="7004"/>
                  </a:lnTo>
                  <a:lnTo>
                    <a:pt x="12991" y="7008"/>
                  </a:lnTo>
                  <a:lnTo>
                    <a:pt x="12940" y="7011"/>
                  </a:lnTo>
                  <a:lnTo>
                    <a:pt x="12846" y="7011"/>
                  </a:lnTo>
                  <a:lnTo>
                    <a:pt x="12763" y="7010"/>
                  </a:lnTo>
                  <a:lnTo>
                    <a:pt x="12683" y="7007"/>
                  </a:lnTo>
                  <a:lnTo>
                    <a:pt x="12602" y="7003"/>
                  </a:lnTo>
                  <a:lnTo>
                    <a:pt x="12524" y="6997"/>
                  </a:lnTo>
                  <a:lnTo>
                    <a:pt x="12446" y="6990"/>
                  </a:lnTo>
                  <a:lnTo>
                    <a:pt x="12370" y="6980"/>
                  </a:lnTo>
                  <a:lnTo>
                    <a:pt x="12296" y="6970"/>
                  </a:lnTo>
                  <a:lnTo>
                    <a:pt x="12222" y="6958"/>
                  </a:lnTo>
                  <a:lnTo>
                    <a:pt x="12150" y="6944"/>
                  </a:lnTo>
                  <a:lnTo>
                    <a:pt x="12080" y="6929"/>
                  </a:lnTo>
                  <a:lnTo>
                    <a:pt x="12011" y="6913"/>
                  </a:lnTo>
                  <a:lnTo>
                    <a:pt x="11943" y="6896"/>
                  </a:lnTo>
                  <a:lnTo>
                    <a:pt x="11875" y="6877"/>
                  </a:lnTo>
                  <a:lnTo>
                    <a:pt x="11810" y="6858"/>
                  </a:lnTo>
                  <a:lnTo>
                    <a:pt x="11745" y="6838"/>
                  </a:lnTo>
                  <a:lnTo>
                    <a:pt x="11683" y="6816"/>
                  </a:lnTo>
                  <a:lnTo>
                    <a:pt x="11622" y="6794"/>
                  </a:lnTo>
                  <a:lnTo>
                    <a:pt x="11562" y="6770"/>
                  </a:lnTo>
                  <a:lnTo>
                    <a:pt x="11503" y="6746"/>
                  </a:lnTo>
                  <a:lnTo>
                    <a:pt x="11445" y="6722"/>
                  </a:lnTo>
                  <a:lnTo>
                    <a:pt x="11388" y="6696"/>
                  </a:lnTo>
                  <a:lnTo>
                    <a:pt x="11334" y="6670"/>
                  </a:lnTo>
                  <a:lnTo>
                    <a:pt x="11280" y="6643"/>
                  </a:lnTo>
                  <a:lnTo>
                    <a:pt x="11227" y="6617"/>
                  </a:lnTo>
                  <a:lnTo>
                    <a:pt x="11177" y="6589"/>
                  </a:lnTo>
                  <a:lnTo>
                    <a:pt x="11127" y="6561"/>
                  </a:lnTo>
                  <a:lnTo>
                    <a:pt x="11079" y="6532"/>
                  </a:lnTo>
                  <a:lnTo>
                    <a:pt x="11031" y="6504"/>
                  </a:lnTo>
                  <a:lnTo>
                    <a:pt x="10986" y="6476"/>
                  </a:lnTo>
                  <a:lnTo>
                    <a:pt x="10941" y="6446"/>
                  </a:lnTo>
                  <a:lnTo>
                    <a:pt x="10898" y="6417"/>
                  </a:lnTo>
                  <a:lnTo>
                    <a:pt x="10856" y="6388"/>
                  </a:lnTo>
                  <a:lnTo>
                    <a:pt x="10815" y="6358"/>
                  </a:lnTo>
                  <a:lnTo>
                    <a:pt x="10776" y="6329"/>
                  </a:lnTo>
                  <a:lnTo>
                    <a:pt x="10738" y="6300"/>
                  </a:lnTo>
                  <a:lnTo>
                    <a:pt x="10701" y="6272"/>
                  </a:lnTo>
                  <a:lnTo>
                    <a:pt x="10666" y="6243"/>
                  </a:lnTo>
                  <a:lnTo>
                    <a:pt x="10632" y="6215"/>
                  </a:lnTo>
                  <a:lnTo>
                    <a:pt x="10599" y="6186"/>
                  </a:lnTo>
                  <a:lnTo>
                    <a:pt x="10568" y="6159"/>
                  </a:lnTo>
                  <a:lnTo>
                    <a:pt x="10537" y="6131"/>
                  </a:lnTo>
                  <a:lnTo>
                    <a:pt x="10508" y="6105"/>
                  </a:lnTo>
                  <a:lnTo>
                    <a:pt x="10480" y="6079"/>
                  </a:lnTo>
                  <a:lnTo>
                    <a:pt x="10454" y="6053"/>
                  </a:lnTo>
                  <a:lnTo>
                    <a:pt x="10429" y="6028"/>
                  </a:lnTo>
                  <a:lnTo>
                    <a:pt x="10405" y="6005"/>
                  </a:lnTo>
                  <a:lnTo>
                    <a:pt x="10383" y="5982"/>
                  </a:lnTo>
                  <a:lnTo>
                    <a:pt x="10361" y="5959"/>
                  </a:lnTo>
                  <a:lnTo>
                    <a:pt x="10341" y="5938"/>
                  </a:lnTo>
                  <a:lnTo>
                    <a:pt x="10323" y="5917"/>
                  </a:lnTo>
                  <a:lnTo>
                    <a:pt x="10305" y="5898"/>
                  </a:lnTo>
                  <a:lnTo>
                    <a:pt x="10290" y="5879"/>
                  </a:lnTo>
                  <a:lnTo>
                    <a:pt x="10274" y="5863"/>
                  </a:lnTo>
                  <a:lnTo>
                    <a:pt x="10261" y="5846"/>
                  </a:lnTo>
                  <a:lnTo>
                    <a:pt x="10250" y="5832"/>
                  </a:lnTo>
                  <a:lnTo>
                    <a:pt x="10238" y="5818"/>
                  </a:lnTo>
                  <a:lnTo>
                    <a:pt x="10229" y="5806"/>
                  </a:lnTo>
                  <a:lnTo>
                    <a:pt x="10221" y="5796"/>
                  </a:lnTo>
                  <a:lnTo>
                    <a:pt x="10213" y="5786"/>
                  </a:lnTo>
                  <a:lnTo>
                    <a:pt x="10207" y="5778"/>
                  </a:lnTo>
                  <a:lnTo>
                    <a:pt x="10203" y="5773"/>
                  </a:lnTo>
                  <a:lnTo>
                    <a:pt x="10200" y="5768"/>
                  </a:lnTo>
                  <a:lnTo>
                    <a:pt x="10198" y="5766"/>
                  </a:lnTo>
                  <a:lnTo>
                    <a:pt x="10197" y="5765"/>
                  </a:lnTo>
                  <a:lnTo>
                    <a:pt x="10197" y="5766"/>
                  </a:lnTo>
                  <a:lnTo>
                    <a:pt x="10197" y="5770"/>
                  </a:lnTo>
                  <a:lnTo>
                    <a:pt x="10196" y="5776"/>
                  </a:lnTo>
                  <a:lnTo>
                    <a:pt x="10194" y="5785"/>
                  </a:lnTo>
                  <a:lnTo>
                    <a:pt x="10193" y="5797"/>
                  </a:lnTo>
                  <a:lnTo>
                    <a:pt x="10191" y="5810"/>
                  </a:lnTo>
                  <a:lnTo>
                    <a:pt x="10189" y="5826"/>
                  </a:lnTo>
                  <a:lnTo>
                    <a:pt x="10187" y="5844"/>
                  </a:lnTo>
                  <a:lnTo>
                    <a:pt x="10185" y="5864"/>
                  </a:lnTo>
                  <a:lnTo>
                    <a:pt x="10182" y="5885"/>
                  </a:lnTo>
                  <a:lnTo>
                    <a:pt x="10179" y="5909"/>
                  </a:lnTo>
                  <a:lnTo>
                    <a:pt x="10177" y="5935"/>
                  </a:lnTo>
                  <a:lnTo>
                    <a:pt x="10175" y="5963"/>
                  </a:lnTo>
                  <a:lnTo>
                    <a:pt x="10172" y="5991"/>
                  </a:lnTo>
                  <a:lnTo>
                    <a:pt x="10170" y="6021"/>
                  </a:lnTo>
                  <a:lnTo>
                    <a:pt x="10168" y="6053"/>
                  </a:lnTo>
                  <a:lnTo>
                    <a:pt x="10165" y="6086"/>
                  </a:lnTo>
                  <a:lnTo>
                    <a:pt x="10163" y="6121"/>
                  </a:lnTo>
                  <a:lnTo>
                    <a:pt x="10162" y="6157"/>
                  </a:lnTo>
                  <a:lnTo>
                    <a:pt x="10160" y="6194"/>
                  </a:lnTo>
                  <a:lnTo>
                    <a:pt x="10159" y="6231"/>
                  </a:lnTo>
                  <a:lnTo>
                    <a:pt x="10158" y="6271"/>
                  </a:lnTo>
                  <a:lnTo>
                    <a:pt x="10157" y="6351"/>
                  </a:lnTo>
                  <a:lnTo>
                    <a:pt x="10157" y="6434"/>
                  </a:lnTo>
                  <a:lnTo>
                    <a:pt x="10159" y="6520"/>
                  </a:lnTo>
                  <a:lnTo>
                    <a:pt x="10163" y="6607"/>
                  </a:lnTo>
                  <a:lnTo>
                    <a:pt x="10170" y="6696"/>
                  </a:lnTo>
                  <a:lnTo>
                    <a:pt x="10179" y="6784"/>
                  </a:lnTo>
                  <a:lnTo>
                    <a:pt x="10192" y="6872"/>
                  </a:lnTo>
                  <a:lnTo>
                    <a:pt x="10207" y="6959"/>
                  </a:lnTo>
                  <a:lnTo>
                    <a:pt x="10226" y="7044"/>
                  </a:lnTo>
                  <a:lnTo>
                    <a:pt x="10249" y="7128"/>
                  </a:lnTo>
                  <a:lnTo>
                    <a:pt x="10262" y="7168"/>
                  </a:lnTo>
                  <a:lnTo>
                    <a:pt x="10275" y="7207"/>
                  </a:lnTo>
                  <a:lnTo>
                    <a:pt x="10291" y="7246"/>
                  </a:lnTo>
                  <a:lnTo>
                    <a:pt x="10306" y="7283"/>
                  </a:lnTo>
                  <a:lnTo>
                    <a:pt x="10324" y="7320"/>
                  </a:lnTo>
                  <a:lnTo>
                    <a:pt x="10342" y="7355"/>
                  </a:lnTo>
                  <a:lnTo>
                    <a:pt x="10361" y="7389"/>
                  </a:lnTo>
                  <a:lnTo>
                    <a:pt x="10383" y="7422"/>
                  </a:lnTo>
                  <a:lnTo>
                    <a:pt x="10404" y="7454"/>
                  </a:lnTo>
                  <a:lnTo>
                    <a:pt x="10427" y="7484"/>
                  </a:lnTo>
                  <a:lnTo>
                    <a:pt x="10452" y="7512"/>
                  </a:lnTo>
                  <a:lnTo>
                    <a:pt x="10478" y="7539"/>
                  </a:lnTo>
                  <a:lnTo>
                    <a:pt x="10506" y="7564"/>
                  </a:lnTo>
                  <a:lnTo>
                    <a:pt x="10535" y="7587"/>
                  </a:lnTo>
                  <a:lnTo>
                    <a:pt x="10564" y="7609"/>
                  </a:lnTo>
                  <a:lnTo>
                    <a:pt x="10596" y="7627"/>
                  </a:lnTo>
                  <a:lnTo>
                    <a:pt x="10629" y="7645"/>
                  </a:lnTo>
                  <a:lnTo>
                    <a:pt x="10665" y="7660"/>
                  </a:lnTo>
                  <a:lnTo>
                    <a:pt x="10702" y="7672"/>
                  </a:lnTo>
                  <a:lnTo>
                    <a:pt x="10740" y="7683"/>
                  </a:lnTo>
                  <a:lnTo>
                    <a:pt x="10779" y="7691"/>
                  </a:lnTo>
                  <a:lnTo>
                    <a:pt x="10820" y="7697"/>
                  </a:lnTo>
                  <a:lnTo>
                    <a:pt x="10882" y="7697"/>
                  </a:lnTo>
                  <a:lnTo>
                    <a:pt x="10923" y="7695"/>
                  </a:lnTo>
                  <a:lnTo>
                    <a:pt x="10962" y="7690"/>
                  </a:lnTo>
                  <a:lnTo>
                    <a:pt x="11000" y="7683"/>
                  </a:lnTo>
                  <a:lnTo>
                    <a:pt x="11037" y="7671"/>
                  </a:lnTo>
                  <a:lnTo>
                    <a:pt x="11073" y="7658"/>
                  </a:lnTo>
                  <a:lnTo>
                    <a:pt x="11108" y="7643"/>
                  </a:lnTo>
                  <a:lnTo>
                    <a:pt x="11142" y="7624"/>
                  </a:lnTo>
                  <a:lnTo>
                    <a:pt x="11175" y="7604"/>
                  </a:lnTo>
                  <a:lnTo>
                    <a:pt x="11206" y="7583"/>
                  </a:lnTo>
                  <a:lnTo>
                    <a:pt x="11235" y="7559"/>
                  </a:lnTo>
                  <a:lnTo>
                    <a:pt x="11264" y="7535"/>
                  </a:lnTo>
                  <a:lnTo>
                    <a:pt x="11291" y="7510"/>
                  </a:lnTo>
                  <a:lnTo>
                    <a:pt x="11318" y="7483"/>
                  </a:lnTo>
                  <a:lnTo>
                    <a:pt x="11343" y="7456"/>
                  </a:lnTo>
                  <a:lnTo>
                    <a:pt x="11367" y="7428"/>
                  </a:lnTo>
                  <a:lnTo>
                    <a:pt x="11389" y="7401"/>
                  </a:lnTo>
                  <a:lnTo>
                    <a:pt x="11411" y="7373"/>
                  </a:lnTo>
                  <a:lnTo>
                    <a:pt x="11431" y="7346"/>
                  </a:lnTo>
                  <a:lnTo>
                    <a:pt x="11449" y="7318"/>
                  </a:lnTo>
                  <a:lnTo>
                    <a:pt x="11467" y="7292"/>
                  </a:lnTo>
                  <a:lnTo>
                    <a:pt x="11483" y="7267"/>
                  </a:lnTo>
                  <a:lnTo>
                    <a:pt x="11498" y="7242"/>
                  </a:lnTo>
                  <a:lnTo>
                    <a:pt x="11511" y="7219"/>
                  </a:lnTo>
                  <a:lnTo>
                    <a:pt x="11522" y="7198"/>
                  </a:lnTo>
                  <a:lnTo>
                    <a:pt x="11534" y="7177"/>
                  </a:lnTo>
                  <a:lnTo>
                    <a:pt x="11543" y="7159"/>
                  </a:lnTo>
                  <a:lnTo>
                    <a:pt x="11550" y="7144"/>
                  </a:lnTo>
                  <a:lnTo>
                    <a:pt x="11558" y="7130"/>
                  </a:lnTo>
                  <a:lnTo>
                    <a:pt x="11562" y="7119"/>
                  </a:lnTo>
                  <a:lnTo>
                    <a:pt x="11566" y="7111"/>
                  </a:lnTo>
                  <a:lnTo>
                    <a:pt x="11568" y="7106"/>
                  </a:lnTo>
                  <a:lnTo>
                    <a:pt x="11569" y="7105"/>
                  </a:lnTo>
                  <a:lnTo>
                    <a:pt x="11724" y="7136"/>
                  </a:lnTo>
                  <a:lnTo>
                    <a:pt x="11724" y="7136"/>
                  </a:lnTo>
                  <a:lnTo>
                    <a:pt x="11724" y="7138"/>
                  </a:lnTo>
                  <a:lnTo>
                    <a:pt x="11723" y="7142"/>
                  </a:lnTo>
                  <a:lnTo>
                    <a:pt x="11721" y="7146"/>
                  </a:lnTo>
                  <a:lnTo>
                    <a:pt x="11720" y="7152"/>
                  </a:lnTo>
                  <a:lnTo>
                    <a:pt x="11718" y="7158"/>
                  </a:lnTo>
                  <a:lnTo>
                    <a:pt x="11714" y="7167"/>
                  </a:lnTo>
                  <a:lnTo>
                    <a:pt x="11712" y="7176"/>
                  </a:lnTo>
                  <a:lnTo>
                    <a:pt x="11705" y="7197"/>
                  </a:lnTo>
                  <a:lnTo>
                    <a:pt x="11696" y="7222"/>
                  </a:lnTo>
                  <a:lnTo>
                    <a:pt x="11686" y="7250"/>
                  </a:lnTo>
                  <a:lnTo>
                    <a:pt x="11674" y="7282"/>
                  </a:lnTo>
                  <a:lnTo>
                    <a:pt x="11660" y="7316"/>
                  </a:lnTo>
                  <a:lnTo>
                    <a:pt x="11644" y="7352"/>
                  </a:lnTo>
                  <a:lnTo>
                    <a:pt x="11627" y="7391"/>
                  </a:lnTo>
                  <a:lnTo>
                    <a:pt x="11607" y="7431"/>
                  </a:lnTo>
                  <a:lnTo>
                    <a:pt x="11586" y="7474"/>
                  </a:lnTo>
                  <a:lnTo>
                    <a:pt x="11563" y="7516"/>
                  </a:lnTo>
                  <a:lnTo>
                    <a:pt x="11538" y="7559"/>
                  </a:lnTo>
                  <a:lnTo>
                    <a:pt x="11510" y="7603"/>
                  </a:lnTo>
                  <a:lnTo>
                    <a:pt x="11480" y="7647"/>
                  </a:lnTo>
                  <a:lnTo>
                    <a:pt x="11449" y="7690"/>
                  </a:lnTo>
                  <a:lnTo>
                    <a:pt x="11415" y="7733"/>
                  </a:lnTo>
                  <a:lnTo>
                    <a:pt x="11379" y="7774"/>
                  </a:lnTo>
                  <a:lnTo>
                    <a:pt x="11341" y="7816"/>
                  </a:lnTo>
                  <a:lnTo>
                    <a:pt x="11299" y="7854"/>
                  </a:lnTo>
                  <a:lnTo>
                    <a:pt x="11257" y="7891"/>
                  </a:lnTo>
                  <a:lnTo>
                    <a:pt x="11212" y="7925"/>
                  </a:lnTo>
                  <a:lnTo>
                    <a:pt x="11164" y="7956"/>
                  </a:lnTo>
                  <a:lnTo>
                    <a:pt x="11114" y="7985"/>
                  </a:lnTo>
                  <a:lnTo>
                    <a:pt x="11061" y="8009"/>
                  </a:lnTo>
                  <a:lnTo>
                    <a:pt x="11005" y="8031"/>
                  </a:lnTo>
                  <a:lnTo>
                    <a:pt x="10977" y="8040"/>
                  </a:lnTo>
                  <a:lnTo>
                    <a:pt x="10947" y="8047"/>
                  </a:lnTo>
                  <a:lnTo>
                    <a:pt x="10917" y="8055"/>
                  </a:lnTo>
                  <a:lnTo>
                    <a:pt x="10888" y="8061"/>
                  </a:lnTo>
                  <a:lnTo>
                    <a:pt x="10856" y="8065"/>
                  </a:lnTo>
                  <a:lnTo>
                    <a:pt x="10824" y="8068"/>
                  </a:lnTo>
                  <a:lnTo>
                    <a:pt x="10792" y="8070"/>
                  </a:lnTo>
                  <a:lnTo>
                    <a:pt x="10759" y="8071"/>
                  </a:lnTo>
                  <a:lnTo>
                    <a:pt x="10711" y="8069"/>
                  </a:lnTo>
                  <a:lnTo>
                    <a:pt x="10665" y="8065"/>
                  </a:lnTo>
                  <a:lnTo>
                    <a:pt x="10618" y="8058"/>
                  </a:lnTo>
                  <a:lnTo>
                    <a:pt x="10572" y="8047"/>
                  </a:lnTo>
                  <a:lnTo>
                    <a:pt x="10524" y="8034"/>
                  </a:lnTo>
                  <a:lnTo>
                    <a:pt x="10478" y="8019"/>
                  </a:lnTo>
                  <a:lnTo>
                    <a:pt x="10431" y="7999"/>
                  </a:lnTo>
                  <a:lnTo>
                    <a:pt x="10384" y="7977"/>
                  </a:lnTo>
                  <a:lnTo>
                    <a:pt x="10331" y="7952"/>
                  </a:lnTo>
                  <a:lnTo>
                    <a:pt x="10276" y="7924"/>
                  </a:lnTo>
                  <a:lnTo>
                    <a:pt x="10222" y="7892"/>
                  </a:lnTo>
                  <a:lnTo>
                    <a:pt x="10166" y="7857"/>
                  </a:lnTo>
                  <a:lnTo>
                    <a:pt x="10109" y="7821"/>
                  </a:lnTo>
                  <a:lnTo>
                    <a:pt x="10053" y="7781"/>
                  </a:lnTo>
                  <a:lnTo>
                    <a:pt x="9999" y="7739"/>
                  </a:lnTo>
                  <a:lnTo>
                    <a:pt x="9944" y="7696"/>
                  </a:lnTo>
                  <a:lnTo>
                    <a:pt x="9890" y="7652"/>
                  </a:lnTo>
                  <a:lnTo>
                    <a:pt x="9839" y="7607"/>
                  </a:lnTo>
                  <a:lnTo>
                    <a:pt x="9788" y="7560"/>
                  </a:lnTo>
                  <a:lnTo>
                    <a:pt x="9740" y="7513"/>
                  </a:lnTo>
                  <a:lnTo>
                    <a:pt x="9694" y="7465"/>
                  </a:lnTo>
                  <a:lnTo>
                    <a:pt x="9651" y="7417"/>
                  </a:lnTo>
                  <a:lnTo>
                    <a:pt x="9611" y="7370"/>
                  </a:lnTo>
                  <a:lnTo>
                    <a:pt x="9573" y="7323"/>
                  </a:lnTo>
                  <a:lnTo>
                    <a:pt x="9524" y="7310"/>
                  </a:lnTo>
                  <a:lnTo>
                    <a:pt x="9475" y="7295"/>
                  </a:lnTo>
                  <a:lnTo>
                    <a:pt x="9426" y="7279"/>
                  </a:lnTo>
                  <a:lnTo>
                    <a:pt x="9377" y="7260"/>
                  </a:lnTo>
                  <a:lnTo>
                    <a:pt x="9330" y="7241"/>
                  </a:lnTo>
                  <a:lnTo>
                    <a:pt x="9282" y="7219"/>
                  </a:lnTo>
                  <a:lnTo>
                    <a:pt x="9236" y="7197"/>
                  </a:lnTo>
                  <a:lnTo>
                    <a:pt x="9189" y="7173"/>
                  </a:lnTo>
                  <a:lnTo>
                    <a:pt x="9145" y="7148"/>
                  </a:lnTo>
                  <a:lnTo>
                    <a:pt x="9101" y="7123"/>
                  </a:lnTo>
                  <a:lnTo>
                    <a:pt x="9057" y="7098"/>
                  </a:lnTo>
                  <a:lnTo>
                    <a:pt x="9016" y="7071"/>
                  </a:lnTo>
                  <a:lnTo>
                    <a:pt x="8975" y="7044"/>
                  </a:lnTo>
                  <a:lnTo>
                    <a:pt x="8935" y="7017"/>
                  </a:lnTo>
                  <a:lnTo>
                    <a:pt x="8897" y="6991"/>
                  </a:lnTo>
                  <a:lnTo>
                    <a:pt x="8861" y="6965"/>
                  </a:lnTo>
                  <a:lnTo>
                    <a:pt x="8826" y="6938"/>
                  </a:lnTo>
                  <a:lnTo>
                    <a:pt x="8793" y="6912"/>
                  </a:lnTo>
                  <a:lnTo>
                    <a:pt x="8761" y="6888"/>
                  </a:lnTo>
                  <a:lnTo>
                    <a:pt x="8731" y="6864"/>
                  </a:lnTo>
                  <a:lnTo>
                    <a:pt x="8703" y="6841"/>
                  </a:lnTo>
                  <a:lnTo>
                    <a:pt x="8677" y="6819"/>
                  </a:lnTo>
                  <a:lnTo>
                    <a:pt x="8654" y="6798"/>
                  </a:lnTo>
                  <a:lnTo>
                    <a:pt x="8632" y="6779"/>
                  </a:lnTo>
                  <a:lnTo>
                    <a:pt x="8612" y="6762"/>
                  </a:lnTo>
                  <a:lnTo>
                    <a:pt x="8595" y="6746"/>
                  </a:lnTo>
                  <a:lnTo>
                    <a:pt x="8580" y="6733"/>
                  </a:lnTo>
                  <a:lnTo>
                    <a:pt x="8568" y="6721"/>
                  </a:lnTo>
                  <a:lnTo>
                    <a:pt x="8559" y="6711"/>
                  </a:lnTo>
                  <a:lnTo>
                    <a:pt x="8551" y="6705"/>
                  </a:lnTo>
                  <a:lnTo>
                    <a:pt x="8547" y="6701"/>
                  </a:lnTo>
                  <a:lnTo>
                    <a:pt x="8545" y="6699"/>
                  </a:lnTo>
                  <a:lnTo>
                    <a:pt x="8546" y="6701"/>
                  </a:lnTo>
                  <a:lnTo>
                    <a:pt x="8547" y="6706"/>
                  </a:lnTo>
                  <a:lnTo>
                    <a:pt x="8549" y="6716"/>
                  </a:lnTo>
                  <a:lnTo>
                    <a:pt x="8553" y="6728"/>
                  </a:lnTo>
                  <a:lnTo>
                    <a:pt x="8559" y="6743"/>
                  </a:lnTo>
                  <a:lnTo>
                    <a:pt x="8565" y="6762"/>
                  </a:lnTo>
                  <a:lnTo>
                    <a:pt x="8574" y="6784"/>
                  </a:lnTo>
                  <a:lnTo>
                    <a:pt x="8584" y="6808"/>
                  </a:lnTo>
                  <a:lnTo>
                    <a:pt x="8597" y="6836"/>
                  </a:lnTo>
                  <a:lnTo>
                    <a:pt x="8612" y="6867"/>
                  </a:lnTo>
                  <a:lnTo>
                    <a:pt x="8630" y="6900"/>
                  </a:lnTo>
                  <a:lnTo>
                    <a:pt x="8651" y="6936"/>
                  </a:lnTo>
                  <a:lnTo>
                    <a:pt x="8674" y="6975"/>
                  </a:lnTo>
                  <a:lnTo>
                    <a:pt x="8701" y="7015"/>
                  </a:lnTo>
                  <a:lnTo>
                    <a:pt x="8730" y="7059"/>
                  </a:lnTo>
                  <a:lnTo>
                    <a:pt x="8764" y="7105"/>
                  </a:lnTo>
                  <a:lnTo>
                    <a:pt x="8812" y="7163"/>
                  </a:lnTo>
                  <a:lnTo>
                    <a:pt x="8862" y="7218"/>
                  </a:lnTo>
                  <a:lnTo>
                    <a:pt x="8914" y="7272"/>
                  </a:lnTo>
                  <a:lnTo>
                    <a:pt x="8966" y="7323"/>
                  </a:lnTo>
                  <a:lnTo>
                    <a:pt x="9019" y="7373"/>
                  </a:lnTo>
                  <a:lnTo>
                    <a:pt x="9071" y="7419"/>
                  </a:lnTo>
                  <a:lnTo>
                    <a:pt x="9121" y="7462"/>
                  </a:lnTo>
                  <a:lnTo>
                    <a:pt x="9169" y="7501"/>
                  </a:lnTo>
                  <a:lnTo>
                    <a:pt x="9214" y="7539"/>
                  </a:lnTo>
                  <a:lnTo>
                    <a:pt x="9235" y="7555"/>
                  </a:lnTo>
                  <a:lnTo>
                    <a:pt x="9255" y="7570"/>
                  </a:lnTo>
                  <a:lnTo>
                    <a:pt x="9275" y="7585"/>
                  </a:lnTo>
                  <a:lnTo>
                    <a:pt x="9293" y="7598"/>
                  </a:lnTo>
                  <a:lnTo>
                    <a:pt x="9309" y="7611"/>
                  </a:lnTo>
                  <a:lnTo>
                    <a:pt x="9325" y="7622"/>
                  </a:lnTo>
                  <a:lnTo>
                    <a:pt x="9338" y="7631"/>
                  </a:lnTo>
                  <a:lnTo>
                    <a:pt x="9350" y="7641"/>
                  </a:lnTo>
                  <a:lnTo>
                    <a:pt x="9362" y="7648"/>
                  </a:lnTo>
                  <a:lnTo>
                    <a:pt x="9370" y="7654"/>
                  </a:lnTo>
                  <a:lnTo>
                    <a:pt x="9377" y="7659"/>
                  </a:lnTo>
                  <a:lnTo>
                    <a:pt x="9382" y="7662"/>
                  </a:lnTo>
                  <a:lnTo>
                    <a:pt x="9386" y="7665"/>
                  </a:lnTo>
                  <a:lnTo>
                    <a:pt x="9387" y="7665"/>
                  </a:lnTo>
                  <a:lnTo>
                    <a:pt x="9387" y="7666"/>
                  </a:lnTo>
                  <a:lnTo>
                    <a:pt x="9386" y="7670"/>
                  </a:lnTo>
                  <a:lnTo>
                    <a:pt x="9382" y="7677"/>
                  </a:lnTo>
                  <a:lnTo>
                    <a:pt x="9379" y="7684"/>
                  </a:lnTo>
                  <a:lnTo>
                    <a:pt x="9376" y="7694"/>
                  </a:lnTo>
                  <a:lnTo>
                    <a:pt x="9371" y="7706"/>
                  </a:lnTo>
                  <a:lnTo>
                    <a:pt x="9366" y="7721"/>
                  </a:lnTo>
                  <a:lnTo>
                    <a:pt x="9360" y="7737"/>
                  </a:lnTo>
                  <a:lnTo>
                    <a:pt x="9352" y="7756"/>
                  </a:lnTo>
                  <a:lnTo>
                    <a:pt x="9344" y="7775"/>
                  </a:lnTo>
                  <a:lnTo>
                    <a:pt x="9336" y="7797"/>
                  </a:lnTo>
                  <a:lnTo>
                    <a:pt x="9327" y="7821"/>
                  </a:lnTo>
                  <a:lnTo>
                    <a:pt x="9317" y="7845"/>
                  </a:lnTo>
                  <a:lnTo>
                    <a:pt x="9307" y="7872"/>
                  </a:lnTo>
                  <a:lnTo>
                    <a:pt x="9296" y="7901"/>
                  </a:lnTo>
                  <a:lnTo>
                    <a:pt x="9284" y="7930"/>
                  </a:lnTo>
                  <a:lnTo>
                    <a:pt x="9272" y="7962"/>
                  </a:lnTo>
                  <a:lnTo>
                    <a:pt x="9260" y="7994"/>
                  </a:lnTo>
                  <a:lnTo>
                    <a:pt x="9246" y="8027"/>
                  </a:lnTo>
                  <a:lnTo>
                    <a:pt x="9232" y="8062"/>
                  </a:lnTo>
                  <a:lnTo>
                    <a:pt x="9217" y="8098"/>
                  </a:lnTo>
                  <a:lnTo>
                    <a:pt x="9203" y="8135"/>
                  </a:lnTo>
                  <a:lnTo>
                    <a:pt x="9172" y="8211"/>
                  </a:lnTo>
                  <a:lnTo>
                    <a:pt x="9139" y="8291"/>
                  </a:lnTo>
                  <a:lnTo>
                    <a:pt x="9105" y="8374"/>
                  </a:lnTo>
                  <a:lnTo>
                    <a:pt x="9070" y="8459"/>
                  </a:lnTo>
                  <a:lnTo>
                    <a:pt x="9032" y="8546"/>
                  </a:lnTo>
                  <a:lnTo>
                    <a:pt x="8994" y="8635"/>
                  </a:lnTo>
                  <a:lnTo>
                    <a:pt x="8956" y="8723"/>
                  </a:lnTo>
                  <a:lnTo>
                    <a:pt x="8878" y="8901"/>
                  </a:lnTo>
                  <a:lnTo>
                    <a:pt x="8837" y="8989"/>
                  </a:lnTo>
                  <a:lnTo>
                    <a:pt x="8797" y="9075"/>
                  </a:lnTo>
                  <a:lnTo>
                    <a:pt x="8757" y="9161"/>
                  </a:lnTo>
                  <a:lnTo>
                    <a:pt x="8717" y="9243"/>
                  </a:lnTo>
                  <a:lnTo>
                    <a:pt x="8676" y="9323"/>
                  </a:lnTo>
                  <a:lnTo>
                    <a:pt x="8637" y="9399"/>
                  </a:lnTo>
                  <a:lnTo>
                    <a:pt x="8617" y="9435"/>
                  </a:lnTo>
                  <a:lnTo>
                    <a:pt x="8599" y="9471"/>
                  </a:lnTo>
                  <a:lnTo>
                    <a:pt x="8579" y="9505"/>
                  </a:lnTo>
                  <a:lnTo>
                    <a:pt x="8561" y="9539"/>
                  </a:lnTo>
                  <a:lnTo>
                    <a:pt x="8542" y="9571"/>
                  </a:lnTo>
                  <a:lnTo>
                    <a:pt x="8524" y="9601"/>
                  </a:lnTo>
                  <a:lnTo>
                    <a:pt x="8506" y="9631"/>
                  </a:lnTo>
                  <a:lnTo>
                    <a:pt x="8488" y="9658"/>
                  </a:lnTo>
                  <a:lnTo>
                    <a:pt x="8471" y="9684"/>
                  </a:lnTo>
                  <a:lnTo>
                    <a:pt x="8453" y="9709"/>
                  </a:lnTo>
                  <a:lnTo>
                    <a:pt x="8437" y="9733"/>
                  </a:lnTo>
                  <a:lnTo>
                    <a:pt x="8420" y="9753"/>
                  </a:lnTo>
                  <a:lnTo>
                    <a:pt x="8388" y="9794"/>
                  </a:lnTo>
                  <a:lnTo>
                    <a:pt x="8354" y="9835"/>
                  </a:lnTo>
                  <a:lnTo>
                    <a:pt x="8284" y="9913"/>
                  </a:lnTo>
                  <a:lnTo>
                    <a:pt x="8210" y="9990"/>
                  </a:lnTo>
                  <a:lnTo>
                    <a:pt x="8132" y="10065"/>
                  </a:lnTo>
                  <a:lnTo>
                    <a:pt x="8052" y="10138"/>
                  </a:lnTo>
                  <a:lnTo>
                    <a:pt x="7969" y="10212"/>
                  </a:lnTo>
                  <a:lnTo>
                    <a:pt x="7885" y="10283"/>
                  </a:lnTo>
                  <a:lnTo>
                    <a:pt x="7798" y="10354"/>
                  </a:lnTo>
                  <a:lnTo>
                    <a:pt x="7709" y="10423"/>
                  </a:lnTo>
                  <a:lnTo>
                    <a:pt x="7620" y="10493"/>
                  </a:lnTo>
                  <a:lnTo>
                    <a:pt x="7440" y="10630"/>
                  </a:lnTo>
                  <a:lnTo>
                    <a:pt x="7258" y="10768"/>
                  </a:lnTo>
                  <a:lnTo>
                    <a:pt x="7169" y="10837"/>
                  </a:lnTo>
                  <a:lnTo>
                    <a:pt x="7080" y="10907"/>
                  </a:lnTo>
                  <a:lnTo>
                    <a:pt x="7046" y="10935"/>
                  </a:lnTo>
                  <a:lnTo>
                    <a:pt x="7013" y="10960"/>
                  </a:lnTo>
                  <a:lnTo>
                    <a:pt x="6981" y="10984"/>
                  </a:lnTo>
                  <a:lnTo>
                    <a:pt x="6951" y="11007"/>
                  </a:lnTo>
                  <a:lnTo>
                    <a:pt x="6921" y="11026"/>
                  </a:lnTo>
                  <a:lnTo>
                    <a:pt x="6894" y="11044"/>
                  </a:lnTo>
                  <a:lnTo>
                    <a:pt x="6866" y="11060"/>
                  </a:lnTo>
                  <a:lnTo>
                    <a:pt x="6839" y="11074"/>
                  </a:lnTo>
                  <a:lnTo>
                    <a:pt x="6813" y="11086"/>
                  </a:lnTo>
                  <a:lnTo>
                    <a:pt x="6788" y="11097"/>
                  </a:lnTo>
                  <a:lnTo>
                    <a:pt x="6763" y="11106"/>
                  </a:lnTo>
                  <a:lnTo>
                    <a:pt x="6739" y="11113"/>
                  </a:lnTo>
                  <a:lnTo>
                    <a:pt x="6715" y="11118"/>
                  </a:lnTo>
                  <a:lnTo>
                    <a:pt x="6691" y="11122"/>
                  </a:lnTo>
                  <a:lnTo>
                    <a:pt x="6667" y="11124"/>
                  </a:lnTo>
                  <a:lnTo>
                    <a:pt x="6645" y="11125"/>
                  </a:lnTo>
                  <a:lnTo>
                    <a:pt x="6627" y="11124"/>
                  </a:lnTo>
                  <a:lnTo>
                    <a:pt x="6610" y="11123"/>
                  </a:lnTo>
                  <a:lnTo>
                    <a:pt x="6592" y="11120"/>
                  </a:lnTo>
                  <a:lnTo>
                    <a:pt x="6576" y="11116"/>
                  </a:lnTo>
                  <a:lnTo>
                    <a:pt x="6558" y="11111"/>
                  </a:lnTo>
                  <a:lnTo>
                    <a:pt x="6541" y="11105"/>
                  </a:lnTo>
                  <a:lnTo>
                    <a:pt x="6524" y="11097"/>
                  </a:lnTo>
                  <a:lnTo>
                    <a:pt x="6506" y="11089"/>
                  </a:lnTo>
                  <a:lnTo>
                    <a:pt x="6489" y="11080"/>
                  </a:lnTo>
                  <a:lnTo>
                    <a:pt x="6471" y="11070"/>
                  </a:lnTo>
                  <a:lnTo>
                    <a:pt x="6454" y="11057"/>
                  </a:lnTo>
                  <a:lnTo>
                    <a:pt x="6436" y="11044"/>
                  </a:lnTo>
                  <a:lnTo>
                    <a:pt x="6418" y="11030"/>
                  </a:lnTo>
                  <a:lnTo>
                    <a:pt x="6399" y="11015"/>
                  </a:lnTo>
                  <a:lnTo>
                    <a:pt x="6379" y="10998"/>
                  </a:lnTo>
                  <a:lnTo>
                    <a:pt x="6360" y="10981"/>
                  </a:lnTo>
                  <a:lnTo>
                    <a:pt x="6340" y="10961"/>
                  </a:lnTo>
                  <a:lnTo>
                    <a:pt x="6320" y="10942"/>
                  </a:lnTo>
                  <a:lnTo>
                    <a:pt x="6299" y="10920"/>
                  </a:lnTo>
                  <a:lnTo>
                    <a:pt x="6277" y="10898"/>
                  </a:lnTo>
                  <a:lnTo>
                    <a:pt x="6255" y="10874"/>
                  </a:lnTo>
                  <a:lnTo>
                    <a:pt x="6232" y="10849"/>
                  </a:lnTo>
                  <a:lnTo>
                    <a:pt x="6208" y="10823"/>
                  </a:lnTo>
                  <a:lnTo>
                    <a:pt x="6184" y="10796"/>
                  </a:lnTo>
                  <a:lnTo>
                    <a:pt x="6160" y="10768"/>
                  </a:lnTo>
                  <a:lnTo>
                    <a:pt x="6134" y="10738"/>
                  </a:lnTo>
                  <a:lnTo>
                    <a:pt x="6107" y="10707"/>
                  </a:lnTo>
                  <a:lnTo>
                    <a:pt x="6079" y="10674"/>
                  </a:lnTo>
                  <a:lnTo>
                    <a:pt x="6050" y="10641"/>
                  </a:lnTo>
                  <a:lnTo>
                    <a:pt x="6021" y="10606"/>
                  </a:lnTo>
                  <a:lnTo>
                    <a:pt x="5990" y="10570"/>
                  </a:lnTo>
                  <a:lnTo>
                    <a:pt x="5958" y="10533"/>
                  </a:lnTo>
                  <a:lnTo>
                    <a:pt x="5938" y="10505"/>
                  </a:lnTo>
                  <a:lnTo>
                    <a:pt x="5917" y="10478"/>
                  </a:lnTo>
                  <a:lnTo>
                    <a:pt x="5897" y="10453"/>
                  </a:lnTo>
                  <a:lnTo>
                    <a:pt x="5880" y="10427"/>
                  </a:lnTo>
                  <a:lnTo>
                    <a:pt x="5846" y="10377"/>
                  </a:lnTo>
                  <a:lnTo>
                    <a:pt x="5817" y="10330"/>
                  </a:lnTo>
                  <a:lnTo>
                    <a:pt x="5791" y="10286"/>
                  </a:lnTo>
                  <a:lnTo>
                    <a:pt x="5769" y="10242"/>
                  </a:lnTo>
                  <a:lnTo>
                    <a:pt x="5751" y="10202"/>
                  </a:lnTo>
                  <a:lnTo>
                    <a:pt x="5735" y="10163"/>
                  </a:lnTo>
                  <a:lnTo>
                    <a:pt x="5724" y="10127"/>
                  </a:lnTo>
                  <a:lnTo>
                    <a:pt x="5715" y="10092"/>
                  </a:lnTo>
                  <a:lnTo>
                    <a:pt x="5708" y="10059"/>
                  </a:lnTo>
                  <a:lnTo>
                    <a:pt x="5705" y="10027"/>
                  </a:lnTo>
                  <a:lnTo>
                    <a:pt x="5705" y="9997"/>
                  </a:lnTo>
                  <a:lnTo>
                    <a:pt x="5706" y="9969"/>
                  </a:lnTo>
                  <a:lnTo>
                    <a:pt x="5710" y="9943"/>
                  </a:lnTo>
                  <a:lnTo>
                    <a:pt x="5718" y="9917"/>
                  </a:lnTo>
                  <a:lnTo>
                    <a:pt x="5726" y="9893"/>
                  </a:lnTo>
                  <a:lnTo>
                    <a:pt x="5735" y="9870"/>
                  </a:lnTo>
                  <a:lnTo>
                    <a:pt x="5748" y="9848"/>
                  </a:lnTo>
                  <a:lnTo>
                    <a:pt x="5761" y="9827"/>
                  </a:lnTo>
                  <a:lnTo>
                    <a:pt x="5776" y="9808"/>
                  </a:lnTo>
                  <a:lnTo>
                    <a:pt x="5792" y="9788"/>
                  </a:lnTo>
                  <a:lnTo>
                    <a:pt x="5810" y="9770"/>
                  </a:lnTo>
                  <a:lnTo>
                    <a:pt x="5827" y="9752"/>
                  </a:lnTo>
                  <a:lnTo>
                    <a:pt x="5866" y="9719"/>
                  </a:lnTo>
                  <a:lnTo>
                    <a:pt x="5907" y="9688"/>
                  </a:lnTo>
                  <a:lnTo>
                    <a:pt x="5949" y="9658"/>
                  </a:lnTo>
                  <a:lnTo>
                    <a:pt x="5990" y="9628"/>
                  </a:lnTo>
                  <a:lnTo>
                    <a:pt x="6073" y="9583"/>
                  </a:lnTo>
                  <a:lnTo>
                    <a:pt x="6156" y="9541"/>
                  </a:lnTo>
                  <a:lnTo>
                    <a:pt x="6197" y="9520"/>
                  </a:lnTo>
                  <a:lnTo>
                    <a:pt x="6237" y="9500"/>
                  </a:lnTo>
                  <a:lnTo>
                    <a:pt x="6276" y="9480"/>
                  </a:lnTo>
                  <a:lnTo>
                    <a:pt x="6313" y="9462"/>
                  </a:lnTo>
                  <a:lnTo>
                    <a:pt x="6348" y="9442"/>
                  </a:lnTo>
                  <a:lnTo>
                    <a:pt x="6383" y="9424"/>
                  </a:lnTo>
                  <a:lnTo>
                    <a:pt x="6413" y="9406"/>
                  </a:lnTo>
                  <a:lnTo>
                    <a:pt x="6441" y="9387"/>
                  </a:lnTo>
                  <a:lnTo>
                    <a:pt x="6466" y="9370"/>
                  </a:lnTo>
                  <a:lnTo>
                    <a:pt x="6488" y="9352"/>
                  </a:lnTo>
                  <a:lnTo>
                    <a:pt x="6505" y="9335"/>
                  </a:lnTo>
                  <a:lnTo>
                    <a:pt x="6514" y="9326"/>
                  </a:lnTo>
                  <a:lnTo>
                    <a:pt x="6520" y="9317"/>
                  </a:lnTo>
                  <a:lnTo>
                    <a:pt x="6525" y="9307"/>
                  </a:lnTo>
                  <a:lnTo>
                    <a:pt x="6530" y="9295"/>
                  </a:lnTo>
                  <a:lnTo>
                    <a:pt x="6535" y="9279"/>
                  </a:lnTo>
                  <a:lnTo>
                    <a:pt x="6538" y="9262"/>
                  </a:lnTo>
                  <a:lnTo>
                    <a:pt x="6543" y="9242"/>
                  </a:lnTo>
                  <a:lnTo>
                    <a:pt x="6546" y="9222"/>
                  </a:lnTo>
                  <a:lnTo>
                    <a:pt x="6549" y="9198"/>
                  </a:lnTo>
                  <a:lnTo>
                    <a:pt x="6551" y="9173"/>
                  </a:lnTo>
                  <a:lnTo>
                    <a:pt x="6553" y="9147"/>
                  </a:lnTo>
                  <a:lnTo>
                    <a:pt x="6555" y="9120"/>
                  </a:lnTo>
                  <a:lnTo>
                    <a:pt x="6556" y="9092"/>
                  </a:lnTo>
                  <a:lnTo>
                    <a:pt x="6557" y="9062"/>
                  </a:lnTo>
                  <a:lnTo>
                    <a:pt x="6558" y="9001"/>
                  </a:lnTo>
                  <a:lnTo>
                    <a:pt x="6559" y="8939"/>
                  </a:lnTo>
                  <a:lnTo>
                    <a:pt x="6558" y="8877"/>
                  </a:lnTo>
                  <a:lnTo>
                    <a:pt x="6558" y="8815"/>
                  </a:lnTo>
                  <a:lnTo>
                    <a:pt x="6556" y="8755"/>
                  </a:lnTo>
                  <a:lnTo>
                    <a:pt x="6556" y="8726"/>
                  </a:lnTo>
                  <a:lnTo>
                    <a:pt x="6555" y="8699"/>
                  </a:lnTo>
                  <a:lnTo>
                    <a:pt x="6554" y="8673"/>
                  </a:lnTo>
                  <a:lnTo>
                    <a:pt x="6554" y="8648"/>
                  </a:lnTo>
                  <a:lnTo>
                    <a:pt x="6553" y="8625"/>
                  </a:lnTo>
                  <a:lnTo>
                    <a:pt x="6552" y="8604"/>
                  </a:lnTo>
                  <a:lnTo>
                    <a:pt x="6552" y="8584"/>
                  </a:lnTo>
                  <a:lnTo>
                    <a:pt x="6552" y="8567"/>
                  </a:lnTo>
                  <a:lnTo>
                    <a:pt x="6551" y="8551"/>
                  </a:lnTo>
                  <a:lnTo>
                    <a:pt x="6551" y="8538"/>
                  </a:lnTo>
                  <a:lnTo>
                    <a:pt x="6548" y="8561"/>
                  </a:lnTo>
                  <a:lnTo>
                    <a:pt x="6543" y="8586"/>
                  </a:lnTo>
                  <a:lnTo>
                    <a:pt x="6537" y="8612"/>
                  </a:lnTo>
                  <a:lnTo>
                    <a:pt x="6530" y="8638"/>
                  </a:lnTo>
                  <a:lnTo>
                    <a:pt x="6522" y="8664"/>
                  </a:lnTo>
                  <a:lnTo>
                    <a:pt x="6512" y="8691"/>
                  </a:lnTo>
                  <a:lnTo>
                    <a:pt x="6500" y="8718"/>
                  </a:lnTo>
                  <a:lnTo>
                    <a:pt x="6488" y="8746"/>
                  </a:lnTo>
                  <a:lnTo>
                    <a:pt x="6474" y="8773"/>
                  </a:lnTo>
                  <a:lnTo>
                    <a:pt x="6458" y="8800"/>
                  </a:lnTo>
                  <a:lnTo>
                    <a:pt x="6441" y="8827"/>
                  </a:lnTo>
                  <a:lnTo>
                    <a:pt x="6422" y="8855"/>
                  </a:lnTo>
                  <a:lnTo>
                    <a:pt x="6401" y="8882"/>
                  </a:lnTo>
                  <a:lnTo>
                    <a:pt x="6379" y="8907"/>
                  </a:lnTo>
                  <a:lnTo>
                    <a:pt x="6355" y="8933"/>
                  </a:lnTo>
                  <a:lnTo>
                    <a:pt x="6329" y="8959"/>
                  </a:lnTo>
                  <a:lnTo>
                    <a:pt x="6301" y="8984"/>
                  </a:lnTo>
                  <a:lnTo>
                    <a:pt x="6271" y="9006"/>
                  </a:lnTo>
                  <a:lnTo>
                    <a:pt x="6239" y="9029"/>
                  </a:lnTo>
                  <a:lnTo>
                    <a:pt x="6205" y="9052"/>
                  </a:lnTo>
                  <a:lnTo>
                    <a:pt x="6169" y="9071"/>
                  </a:lnTo>
                  <a:lnTo>
                    <a:pt x="6131" y="9091"/>
                  </a:lnTo>
                  <a:lnTo>
                    <a:pt x="6089" y="9109"/>
                  </a:lnTo>
                  <a:lnTo>
                    <a:pt x="6047" y="9126"/>
                  </a:lnTo>
                  <a:lnTo>
                    <a:pt x="6002" y="9140"/>
                  </a:lnTo>
                  <a:lnTo>
                    <a:pt x="5954" y="9154"/>
                  </a:lnTo>
                  <a:lnTo>
                    <a:pt x="5905" y="9165"/>
                  </a:lnTo>
                  <a:lnTo>
                    <a:pt x="5852" y="9174"/>
                  </a:lnTo>
                  <a:lnTo>
                    <a:pt x="5796" y="9182"/>
                  </a:lnTo>
                  <a:lnTo>
                    <a:pt x="5739" y="9188"/>
                  </a:lnTo>
                  <a:lnTo>
                    <a:pt x="5678" y="9192"/>
                  </a:lnTo>
                  <a:lnTo>
                    <a:pt x="5616" y="9193"/>
                  </a:lnTo>
                  <a:lnTo>
                    <a:pt x="5554" y="9193"/>
                  </a:lnTo>
                  <a:lnTo>
                    <a:pt x="5477" y="9188"/>
                  </a:lnTo>
                  <a:lnTo>
                    <a:pt x="5403" y="9180"/>
                  </a:lnTo>
                  <a:lnTo>
                    <a:pt x="5334" y="9170"/>
                  </a:lnTo>
                  <a:lnTo>
                    <a:pt x="5267" y="9158"/>
                  </a:lnTo>
                  <a:lnTo>
                    <a:pt x="5204" y="9142"/>
                  </a:lnTo>
                  <a:lnTo>
                    <a:pt x="5144" y="9126"/>
                  </a:lnTo>
                  <a:lnTo>
                    <a:pt x="5086" y="9106"/>
                  </a:lnTo>
                  <a:lnTo>
                    <a:pt x="5032" y="9085"/>
                  </a:lnTo>
                  <a:lnTo>
                    <a:pt x="4982" y="9062"/>
                  </a:lnTo>
                  <a:lnTo>
                    <a:pt x="4934" y="9037"/>
                  </a:lnTo>
                  <a:lnTo>
                    <a:pt x="4889" y="9012"/>
                  </a:lnTo>
                  <a:lnTo>
                    <a:pt x="4847" y="8985"/>
                  </a:lnTo>
                  <a:lnTo>
                    <a:pt x="4807" y="8957"/>
                  </a:lnTo>
                  <a:lnTo>
                    <a:pt x="4771" y="8928"/>
                  </a:lnTo>
                  <a:lnTo>
                    <a:pt x="4736" y="8899"/>
                  </a:lnTo>
                  <a:lnTo>
                    <a:pt x="4704" y="8869"/>
                  </a:lnTo>
                  <a:lnTo>
                    <a:pt x="4675" y="8839"/>
                  </a:lnTo>
                  <a:lnTo>
                    <a:pt x="4647" y="8809"/>
                  </a:lnTo>
                  <a:lnTo>
                    <a:pt x="4622" y="8779"/>
                  </a:lnTo>
                  <a:lnTo>
                    <a:pt x="4600" y="8749"/>
                  </a:lnTo>
                  <a:lnTo>
                    <a:pt x="4579" y="8720"/>
                  </a:lnTo>
                  <a:lnTo>
                    <a:pt x="4560" y="8691"/>
                  </a:lnTo>
                  <a:lnTo>
                    <a:pt x="4543" y="8663"/>
                  </a:lnTo>
                  <a:lnTo>
                    <a:pt x="4528" y="8636"/>
                  </a:lnTo>
                  <a:lnTo>
                    <a:pt x="4515" y="8610"/>
                  </a:lnTo>
                  <a:lnTo>
                    <a:pt x="4503" y="8585"/>
                  </a:lnTo>
                  <a:lnTo>
                    <a:pt x="4492" y="8562"/>
                  </a:lnTo>
                  <a:lnTo>
                    <a:pt x="4484" y="8541"/>
                  </a:lnTo>
                  <a:lnTo>
                    <a:pt x="4477" y="8521"/>
                  </a:lnTo>
                  <a:lnTo>
                    <a:pt x="4471" y="8504"/>
                  </a:lnTo>
                  <a:lnTo>
                    <a:pt x="4467" y="8488"/>
                  </a:lnTo>
                  <a:lnTo>
                    <a:pt x="4462" y="8476"/>
                  </a:lnTo>
                  <a:lnTo>
                    <a:pt x="4465" y="8501"/>
                  </a:lnTo>
                  <a:lnTo>
                    <a:pt x="4469" y="8528"/>
                  </a:lnTo>
                  <a:lnTo>
                    <a:pt x="4471" y="8558"/>
                  </a:lnTo>
                  <a:lnTo>
                    <a:pt x="4473" y="8590"/>
                  </a:lnTo>
                  <a:lnTo>
                    <a:pt x="4475" y="8625"/>
                  </a:lnTo>
                  <a:lnTo>
                    <a:pt x="4477" y="8661"/>
                  </a:lnTo>
                  <a:lnTo>
                    <a:pt x="4479" y="8699"/>
                  </a:lnTo>
                  <a:lnTo>
                    <a:pt x="4480" y="8740"/>
                  </a:lnTo>
                  <a:lnTo>
                    <a:pt x="4482" y="8780"/>
                  </a:lnTo>
                  <a:lnTo>
                    <a:pt x="4483" y="8822"/>
                  </a:lnTo>
                  <a:lnTo>
                    <a:pt x="4485" y="8910"/>
                  </a:lnTo>
                  <a:lnTo>
                    <a:pt x="4486" y="8998"/>
                  </a:lnTo>
                  <a:lnTo>
                    <a:pt x="4486" y="9088"/>
                  </a:lnTo>
                  <a:lnTo>
                    <a:pt x="4486" y="9175"/>
                  </a:lnTo>
                  <a:lnTo>
                    <a:pt x="4485" y="9219"/>
                  </a:lnTo>
                  <a:lnTo>
                    <a:pt x="4485" y="9262"/>
                  </a:lnTo>
                  <a:lnTo>
                    <a:pt x="4484" y="9303"/>
                  </a:lnTo>
                  <a:lnTo>
                    <a:pt x="4483" y="9342"/>
                  </a:lnTo>
                  <a:lnTo>
                    <a:pt x="4482" y="9381"/>
                  </a:lnTo>
                  <a:lnTo>
                    <a:pt x="4480" y="9418"/>
                  </a:lnTo>
                  <a:lnTo>
                    <a:pt x="4479" y="9453"/>
                  </a:lnTo>
                  <a:lnTo>
                    <a:pt x="4477" y="9486"/>
                  </a:lnTo>
                  <a:lnTo>
                    <a:pt x="4475" y="9516"/>
                  </a:lnTo>
                  <a:lnTo>
                    <a:pt x="4473" y="9545"/>
                  </a:lnTo>
                  <a:lnTo>
                    <a:pt x="4471" y="9571"/>
                  </a:lnTo>
                  <a:lnTo>
                    <a:pt x="4469" y="9592"/>
                  </a:lnTo>
                  <a:lnTo>
                    <a:pt x="4465" y="9612"/>
                  </a:lnTo>
                  <a:lnTo>
                    <a:pt x="4462" y="9628"/>
                  </a:lnTo>
                  <a:lnTo>
                    <a:pt x="4459" y="9642"/>
                  </a:lnTo>
                  <a:lnTo>
                    <a:pt x="4454" y="9656"/>
                  </a:lnTo>
                  <a:lnTo>
                    <a:pt x="4448" y="9673"/>
                  </a:lnTo>
                  <a:lnTo>
                    <a:pt x="4441" y="9691"/>
                  </a:lnTo>
                  <a:lnTo>
                    <a:pt x="4431" y="9712"/>
                  </a:lnTo>
                  <a:lnTo>
                    <a:pt x="4422" y="9734"/>
                  </a:lnTo>
                  <a:lnTo>
                    <a:pt x="4412" y="9756"/>
                  </a:lnTo>
                  <a:lnTo>
                    <a:pt x="4400" y="9781"/>
                  </a:lnTo>
                  <a:lnTo>
                    <a:pt x="4388" y="9806"/>
                  </a:lnTo>
                  <a:lnTo>
                    <a:pt x="4376" y="9832"/>
                  </a:lnTo>
                  <a:lnTo>
                    <a:pt x="4349" y="9887"/>
                  </a:lnTo>
                  <a:lnTo>
                    <a:pt x="4320" y="9945"/>
                  </a:lnTo>
                  <a:lnTo>
                    <a:pt x="4291" y="10002"/>
                  </a:lnTo>
                  <a:lnTo>
                    <a:pt x="4262" y="10061"/>
                  </a:lnTo>
                  <a:lnTo>
                    <a:pt x="4234" y="10118"/>
                  </a:lnTo>
                  <a:lnTo>
                    <a:pt x="4207" y="10173"/>
                  </a:lnTo>
                  <a:lnTo>
                    <a:pt x="4194" y="10199"/>
                  </a:lnTo>
                  <a:lnTo>
                    <a:pt x="4183" y="10225"/>
                  </a:lnTo>
                  <a:lnTo>
                    <a:pt x="4171" y="10249"/>
                  </a:lnTo>
                  <a:lnTo>
                    <a:pt x="4160" y="10272"/>
                  </a:lnTo>
                  <a:lnTo>
                    <a:pt x="4151" y="10294"/>
                  </a:lnTo>
                  <a:lnTo>
                    <a:pt x="4142" y="10313"/>
                  </a:lnTo>
                  <a:lnTo>
                    <a:pt x="4135" y="10332"/>
                  </a:lnTo>
                  <a:lnTo>
                    <a:pt x="4129" y="10350"/>
                  </a:lnTo>
                  <a:lnTo>
                    <a:pt x="4124" y="10364"/>
                  </a:lnTo>
                  <a:lnTo>
                    <a:pt x="4120" y="10376"/>
                  </a:lnTo>
                  <a:lnTo>
                    <a:pt x="4118" y="10389"/>
                  </a:lnTo>
                  <a:lnTo>
                    <a:pt x="4116" y="10402"/>
                  </a:lnTo>
                  <a:lnTo>
                    <a:pt x="4113" y="10418"/>
                  </a:lnTo>
                  <a:lnTo>
                    <a:pt x="4112" y="10433"/>
                  </a:lnTo>
                  <a:lnTo>
                    <a:pt x="4110" y="10467"/>
                  </a:lnTo>
                  <a:lnTo>
                    <a:pt x="4108" y="10504"/>
                  </a:lnTo>
                  <a:lnTo>
                    <a:pt x="4107" y="10544"/>
                  </a:lnTo>
                  <a:lnTo>
                    <a:pt x="4106" y="10585"/>
                  </a:lnTo>
                  <a:lnTo>
                    <a:pt x="4104" y="10629"/>
                  </a:lnTo>
                  <a:lnTo>
                    <a:pt x="4100" y="10673"/>
                  </a:lnTo>
                  <a:lnTo>
                    <a:pt x="4095" y="10716"/>
                  </a:lnTo>
                  <a:lnTo>
                    <a:pt x="4088" y="10759"/>
                  </a:lnTo>
                  <a:lnTo>
                    <a:pt x="4076" y="10802"/>
                  </a:lnTo>
                  <a:lnTo>
                    <a:pt x="4063" y="10841"/>
                  </a:lnTo>
                  <a:lnTo>
                    <a:pt x="4055" y="10860"/>
                  </a:lnTo>
                  <a:lnTo>
                    <a:pt x="4045" y="10879"/>
                  </a:lnTo>
                  <a:lnTo>
                    <a:pt x="4035" y="10896"/>
                  </a:lnTo>
                  <a:lnTo>
                    <a:pt x="4024" y="10913"/>
                  </a:lnTo>
                  <a:lnTo>
                    <a:pt x="4010" y="10928"/>
                  </a:lnTo>
                  <a:lnTo>
                    <a:pt x="3996" y="10943"/>
                  </a:lnTo>
                  <a:lnTo>
                    <a:pt x="3981" y="10956"/>
                  </a:lnTo>
                  <a:lnTo>
                    <a:pt x="3964" y="10969"/>
                  </a:lnTo>
                  <a:lnTo>
                    <a:pt x="3951" y="10975"/>
                  </a:lnTo>
                  <a:lnTo>
                    <a:pt x="3938" y="10981"/>
                  </a:lnTo>
                  <a:lnTo>
                    <a:pt x="3922" y="10986"/>
                  </a:lnTo>
                  <a:lnTo>
                    <a:pt x="3906" y="10992"/>
                  </a:lnTo>
                  <a:lnTo>
                    <a:pt x="3888" y="10997"/>
                  </a:lnTo>
                  <a:lnTo>
                    <a:pt x="3869" y="11003"/>
                  </a:lnTo>
                  <a:lnTo>
                    <a:pt x="3849" y="11008"/>
                  </a:lnTo>
                  <a:lnTo>
                    <a:pt x="3828" y="11012"/>
                  </a:lnTo>
                  <a:lnTo>
                    <a:pt x="3805" y="11016"/>
                  </a:lnTo>
                  <a:lnTo>
                    <a:pt x="3782" y="11020"/>
                  </a:lnTo>
                  <a:lnTo>
                    <a:pt x="3732" y="11026"/>
                  </a:lnTo>
                  <a:lnTo>
                    <a:pt x="3678" y="11029"/>
                  </a:lnTo>
                  <a:lnTo>
                    <a:pt x="3621" y="11031"/>
                  </a:lnTo>
                  <a:lnTo>
                    <a:pt x="3556" y="11029"/>
                  </a:lnTo>
                  <a:lnTo>
                    <a:pt x="3490" y="11025"/>
                  </a:lnTo>
                  <a:lnTo>
                    <a:pt x="3423" y="11019"/>
                  </a:lnTo>
                  <a:lnTo>
                    <a:pt x="3355" y="11010"/>
                  </a:lnTo>
                  <a:lnTo>
                    <a:pt x="3286" y="10998"/>
                  </a:lnTo>
                  <a:lnTo>
                    <a:pt x="3215" y="10984"/>
                  </a:lnTo>
                  <a:lnTo>
                    <a:pt x="3145" y="10969"/>
                  </a:lnTo>
                  <a:lnTo>
                    <a:pt x="3075" y="10950"/>
                  </a:lnTo>
                  <a:lnTo>
                    <a:pt x="3005" y="10930"/>
                  </a:lnTo>
                  <a:lnTo>
                    <a:pt x="2936" y="10909"/>
                  </a:lnTo>
                  <a:lnTo>
                    <a:pt x="2865" y="10886"/>
                  </a:lnTo>
                  <a:lnTo>
                    <a:pt x="2796" y="10861"/>
                  </a:lnTo>
                  <a:lnTo>
                    <a:pt x="2728" y="10836"/>
                  </a:lnTo>
                  <a:lnTo>
                    <a:pt x="2661" y="10808"/>
                  </a:lnTo>
                  <a:lnTo>
                    <a:pt x="2595" y="10780"/>
                  </a:lnTo>
                  <a:lnTo>
                    <a:pt x="2531" y="10751"/>
                  </a:lnTo>
                  <a:lnTo>
                    <a:pt x="2507" y="10741"/>
                  </a:lnTo>
                  <a:lnTo>
                    <a:pt x="2482" y="10732"/>
                  </a:lnTo>
                  <a:lnTo>
                    <a:pt x="2457" y="10721"/>
                  </a:lnTo>
                  <a:lnTo>
                    <a:pt x="2429" y="10712"/>
                  </a:lnTo>
                  <a:lnTo>
                    <a:pt x="2374" y="10693"/>
                  </a:lnTo>
                  <a:lnTo>
                    <a:pt x="2348" y="10681"/>
                  </a:lnTo>
                  <a:lnTo>
                    <a:pt x="2322" y="10670"/>
                  </a:lnTo>
                  <a:lnTo>
                    <a:pt x="2298" y="10658"/>
                  </a:lnTo>
                  <a:lnTo>
                    <a:pt x="2276" y="10643"/>
                  </a:lnTo>
                  <a:lnTo>
                    <a:pt x="2256" y="10629"/>
                  </a:lnTo>
                  <a:lnTo>
                    <a:pt x="2240" y="10611"/>
                  </a:lnTo>
                  <a:lnTo>
                    <a:pt x="2226" y="10593"/>
                  </a:lnTo>
                  <a:lnTo>
                    <a:pt x="2221" y="10583"/>
                  </a:lnTo>
                  <a:lnTo>
                    <a:pt x="2216" y="10573"/>
                  </a:lnTo>
                  <a:lnTo>
                    <a:pt x="2213" y="10562"/>
                  </a:lnTo>
                  <a:lnTo>
                    <a:pt x="2211" y="10550"/>
                  </a:lnTo>
                  <a:lnTo>
                    <a:pt x="2210" y="10538"/>
                  </a:lnTo>
                  <a:lnTo>
                    <a:pt x="2211" y="10525"/>
                  </a:lnTo>
                  <a:lnTo>
                    <a:pt x="2214" y="10490"/>
                  </a:lnTo>
                  <a:lnTo>
                    <a:pt x="2219" y="10452"/>
                  </a:lnTo>
                  <a:lnTo>
                    <a:pt x="2225" y="10411"/>
                  </a:lnTo>
                  <a:lnTo>
                    <a:pt x="2233" y="10369"/>
                  </a:lnTo>
                  <a:lnTo>
                    <a:pt x="2241" y="10326"/>
                  </a:lnTo>
                  <a:lnTo>
                    <a:pt x="2250" y="10281"/>
                  </a:lnTo>
                  <a:lnTo>
                    <a:pt x="2260" y="10234"/>
                  </a:lnTo>
                  <a:lnTo>
                    <a:pt x="2271" y="10187"/>
                  </a:lnTo>
                  <a:lnTo>
                    <a:pt x="2296" y="10091"/>
                  </a:lnTo>
                  <a:lnTo>
                    <a:pt x="2321" y="9993"/>
                  </a:lnTo>
                  <a:lnTo>
                    <a:pt x="2349" y="9895"/>
                  </a:lnTo>
                  <a:lnTo>
                    <a:pt x="2377" y="9801"/>
                  </a:lnTo>
                  <a:lnTo>
                    <a:pt x="2391" y="9754"/>
                  </a:lnTo>
                  <a:lnTo>
                    <a:pt x="2405" y="9709"/>
                  </a:lnTo>
                  <a:lnTo>
                    <a:pt x="2418" y="9666"/>
                  </a:lnTo>
                  <a:lnTo>
                    <a:pt x="2432" y="9623"/>
                  </a:lnTo>
                  <a:lnTo>
                    <a:pt x="2444" y="9583"/>
                  </a:lnTo>
                  <a:lnTo>
                    <a:pt x="2457" y="9545"/>
                  </a:lnTo>
                  <a:lnTo>
                    <a:pt x="2469" y="9509"/>
                  </a:lnTo>
                  <a:lnTo>
                    <a:pt x="2479" y="9476"/>
                  </a:lnTo>
                  <a:lnTo>
                    <a:pt x="2490" y="9445"/>
                  </a:lnTo>
                  <a:lnTo>
                    <a:pt x="2499" y="9417"/>
                  </a:lnTo>
                  <a:lnTo>
                    <a:pt x="2508" y="9393"/>
                  </a:lnTo>
                  <a:lnTo>
                    <a:pt x="2515" y="9372"/>
                  </a:lnTo>
                  <a:lnTo>
                    <a:pt x="2522" y="9355"/>
                  </a:lnTo>
                  <a:lnTo>
                    <a:pt x="2526" y="9340"/>
                  </a:lnTo>
                  <a:lnTo>
                    <a:pt x="2528" y="9335"/>
                  </a:lnTo>
                  <a:lnTo>
                    <a:pt x="2530" y="9331"/>
                  </a:lnTo>
                  <a:lnTo>
                    <a:pt x="2531" y="9327"/>
                  </a:lnTo>
                  <a:lnTo>
                    <a:pt x="2532" y="9325"/>
                  </a:lnTo>
                  <a:lnTo>
                    <a:pt x="2531" y="9325"/>
                  </a:lnTo>
                  <a:lnTo>
                    <a:pt x="2530" y="9322"/>
                  </a:lnTo>
                  <a:lnTo>
                    <a:pt x="2528" y="9318"/>
                  </a:lnTo>
                  <a:lnTo>
                    <a:pt x="2525" y="9313"/>
                  </a:lnTo>
                  <a:lnTo>
                    <a:pt x="2521" y="9307"/>
                  </a:lnTo>
                  <a:lnTo>
                    <a:pt x="2515" y="9300"/>
                  </a:lnTo>
                  <a:lnTo>
                    <a:pt x="2509" y="9291"/>
                  </a:lnTo>
                  <a:lnTo>
                    <a:pt x="2503" y="9280"/>
                  </a:lnTo>
                  <a:lnTo>
                    <a:pt x="2496" y="9269"/>
                  </a:lnTo>
                  <a:lnTo>
                    <a:pt x="2488" y="9256"/>
                  </a:lnTo>
                  <a:lnTo>
                    <a:pt x="2479" y="9242"/>
                  </a:lnTo>
                  <a:lnTo>
                    <a:pt x="2469" y="9227"/>
                  </a:lnTo>
                  <a:lnTo>
                    <a:pt x="2460" y="9211"/>
                  </a:lnTo>
                  <a:lnTo>
                    <a:pt x="2448" y="9194"/>
                  </a:lnTo>
                  <a:lnTo>
                    <a:pt x="2437" y="9175"/>
                  </a:lnTo>
                  <a:lnTo>
                    <a:pt x="2425" y="9156"/>
                  </a:lnTo>
                  <a:lnTo>
                    <a:pt x="2399" y="9113"/>
                  </a:lnTo>
                  <a:lnTo>
                    <a:pt x="2371" y="9068"/>
                  </a:lnTo>
                  <a:lnTo>
                    <a:pt x="2341" y="9019"/>
                  </a:lnTo>
                  <a:lnTo>
                    <a:pt x="2310" y="8966"/>
                  </a:lnTo>
                  <a:lnTo>
                    <a:pt x="2276" y="8910"/>
                  </a:lnTo>
                  <a:lnTo>
                    <a:pt x="2242" y="8851"/>
                  </a:lnTo>
                  <a:lnTo>
                    <a:pt x="2206" y="8789"/>
                  </a:lnTo>
                  <a:lnTo>
                    <a:pt x="2169" y="8725"/>
                  </a:lnTo>
                  <a:lnTo>
                    <a:pt x="2131" y="8658"/>
                  </a:lnTo>
                  <a:lnTo>
                    <a:pt x="2093" y="8590"/>
                  </a:lnTo>
                  <a:lnTo>
                    <a:pt x="2054" y="8520"/>
                  </a:lnTo>
                  <a:lnTo>
                    <a:pt x="2015" y="8448"/>
                  </a:lnTo>
                  <a:lnTo>
                    <a:pt x="1976" y="8375"/>
                  </a:lnTo>
                  <a:lnTo>
                    <a:pt x="1937" y="8300"/>
                  </a:lnTo>
                  <a:lnTo>
                    <a:pt x="1860" y="8148"/>
                  </a:lnTo>
                  <a:lnTo>
                    <a:pt x="1823" y="8072"/>
                  </a:lnTo>
                  <a:lnTo>
                    <a:pt x="1786" y="7995"/>
                  </a:lnTo>
                  <a:lnTo>
                    <a:pt x="1750" y="7918"/>
                  </a:lnTo>
                  <a:lnTo>
                    <a:pt x="1716" y="7841"/>
                  </a:lnTo>
                  <a:lnTo>
                    <a:pt x="1683" y="7765"/>
                  </a:lnTo>
                  <a:lnTo>
                    <a:pt x="1652" y="7689"/>
                  </a:lnTo>
                  <a:lnTo>
                    <a:pt x="1622" y="7615"/>
                  </a:lnTo>
                  <a:lnTo>
                    <a:pt x="1596" y="7541"/>
                  </a:lnTo>
                  <a:lnTo>
                    <a:pt x="1571" y="7466"/>
                  </a:lnTo>
                  <a:lnTo>
                    <a:pt x="1548" y="7391"/>
                  </a:lnTo>
                  <a:lnTo>
                    <a:pt x="1530" y="7314"/>
                  </a:lnTo>
                  <a:lnTo>
                    <a:pt x="1512" y="7236"/>
                  </a:lnTo>
                  <a:lnTo>
                    <a:pt x="1498" y="7156"/>
                  </a:lnTo>
                  <a:lnTo>
                    <a:pt x="1485" y="7076"/>
                  </a:lnTo>
                  <a:lnTo>
                    <a:pt x="1476" y="6996"/>
                  </a:lnTo>
                  <a:lnTo>
                    <a:pt x="1468" y="6915"/>
                  </a:lnTo>
                  <a:lnTo>
                    <a:pt x="1461" y="6835"/>
                  </a:lnTo>
                  <a:lnTo>
                    <a:pt x="1457" y="6755"/>
                  </a:lnTo>
                  <a:lnTo>
                    <a:pt x="1454" y="6675"/>
                  </a:lnTo>
                  <a:lnTo>
                    <a:pt x="1452" y="6597"/>
                  </a:lnTo>
                  <a:lnTo>
                    <a:pt x="1452" y="6520"/>
                  </a:lnTo>
                  <a:lnTo>
                    <a:pt x="1454" y="6444"/>
                  </a:lnTo>
                  <a:lnTo>
                    <a:pt x="1456" y="6370"/>
                  </a:lnTo>
                  <a:lnTo>
                    <a:pt x="1459" y="6298"/>
                  </a:lnTo>
                  <a:lnTo>
                    <a:pt x="1464" y="6228"/>
                  </a:lnTo>
                  <a:lnTo>
                    <a:pt x="1468" y="6161"/>
                  </a:lnTo>
                  <a:lnTo>
                    <a:pt x="1474" y="6098"/>
                  </a:lnTo>
                  <a:lnTo>
                    <a:pt x="1479" y="6036"/>
                  </a:lnTo>
                  <a:lnTo>
                    <a:pt x="1485" y="5978"/>
                  </a:lnTo>
                  <a:lnTo>
                    <a:pt x="1491" y="5923"/>
                  </a:lnTo>
                  <a:lnTo>
                    <a:pt x="1494" y="5899"/>
                  </a:lnTo>
                  <a:lnTo>
                    <a:pt x="1498" y="5874"/>
                  </a:lnTo>
                  <a:lnTo>
                    <a:pt x="1501" y="5850"/>
                  </a:lnTo>
                  <a:lnTo>
                    <a:pt x="1504" y="5828"/>
                  </a:lnTo>
                  <a:lnTo>
                    <a:pt x="1507" y="5806"/>
                  </a:lnTo>
                  <a:lnTo>
                    <a:pt x="1510" y="5785"/>
                  </a:lnTo>
                  <a:lnTo>
                    <a:pt x="1512" y="5767"/>
                  </a:lnTo>
                  <a:lnTo>
                    <a:pt x="1515" y="5748"/>
                  </a:lnTo>
                  <a:lnTo>
                    <a:pt x="1518" y="5732"/>
                  </a:lnTo>
                  <a:lnTo>
                    <a:pt x="1520" y="5716"/>
                  </a:lnTo>
                  <a:lnTo>
                    <a:pt x="1522" y="5702"/>
                  </a:lnTo>
                  <a:lnTo>
                    <a:pt x="1524" y="5690"/>
                  </a:lnTo>
                  <a:lnTo>
                    <a:pt x="1526" y="5678"/>
                  </a:lnTo>
                  <a:lnTo>
                    <a:pt x="1529" y="5668"/>
                  </a:lnTo>
                  <a:lnTo>
                    <a:pt x="1530" y="5660"/>
                  </a:lnTo>
                  <a:lnTo>
                    <a:pt x="1531" y="5653"/>
                  </a:lnTo>
                  <a:lnTo>
                    <a:pt x="1532" y="5647"/>
                  </a:lnTo>
                  <a:lnTo>
                    <a:pt x="1533" y="5643"/>
                  </a:lnTo>
                  <a:lnTo>
                    <a:pt x="1534" y="5641"/>
                  </a:lnTo>
                  <a:lnTo>
                    <a:pt x="1534" y="5640"/>
                  </a:lnTo>
                  <a:lnTo>
                    <a:pt x="1533" y="5640"/>
                  </a:lnTo>
                  <a:lnTo>
                    <a:pt x="1530" y="5642"/>
                  </a:lnTo>
                  <a:lnTo>
                    <a:pt x="1523" y="5645"/>
                  </a:lnTo>
                  <a:lnTo>
                    <a:pt x="1516" y="5649"/>
                  </a:lnTo>
                  <a:lnTo>
                    <a:pt x="1506" y="5655"/>
                  </a:lnTo>
                  <a:lnTo>
                    <a:pt x="1493" y="5660"/>
                  </a:lnTo>
                  <a:lnTo>
                    <a:pt x="1480" y="5665"/>
                  </a:lnTo>
                  <a:lnTo>
                    <a:pt x="1464" y="5671"/>
                  </a:lnTo>
                  <a:lnTo>
                    <a:pt x="1445" y="5677"/>
                  </a:lnTo>
                  <a:lnTo>
                    <a:pt x="1423" y="5682"/>
                  </a:lnTo>
                  <a:lnTo>
                    <a:pt x="1401" y="5688"/>
                  </a:lnTo>
                  <a:lnTo>
                    <a:pt x="1376" y="5693"/>
                  </a:lnTo>
                  <a:lnTo>
                    <a:pt x="1348" y="5697"/>
                  </a:lnTo>
                  <a:lnTo>
                    <a:pt x="1318" y="5700"/>
                  </a:lnTo>
                  <a:lnTo>
                    <a:pt x="1287" y="5702"/>
                  </a:lnTo>
                  <a:lnTo>
                    <a:pt x="1253" y="5702"/>
                  </a:lnTo>
                  <a:lnTo>
                    <a:pt x="1216" y="5701"/>
                  </a:lnTo>
                  <a:lnTo>
                    <a:pt x="1177" y="5697"/>
                  </a:lnTo>
                  <a:lnTo>
                    <a:pt x="1134" y="5691"/>
                  </a:lnTo>
                  <a:lnTo>
                    <a:pt x="1089" y="5682"/>
                  </a:lnTo>
                  <a:lnTo>
                    <a:pt x="1041" y="5673"/>
                  </a:lnTo>
                  <a:lnTo>
                    <a:pt x="990" y="5663"/>
                  </a:lnTo>
                  <a:lnTo>
                    <a:pt x="936" y="5651"/>
                  </a:lnTo>
                  <a:lnTo>
                    <a:pt x="879" y="5640"/>
                  </a:lnTo>
                  <a:lnTo>
                    <a:pt x="848" y="5624"/>
                  </a:lnTo>
                  <a:lnTo>
                    <a:pt x="818" y="5606"/>
                  </a:lnTo>
                  <a:lnTo>
                    <a:pt x="791" y="5587"/>
                  </a:lnTo>
                  <a:lnTo>
                    <a:pt x="766" y="5564"/>
                  </a:lnTo>
                  <a:lnTo>
                    <a:pt x="742" y="5541"/>
                  </a:lnTo>
                  <a:lnTo>
                    <a:pt x="720" y="5516"/>
                  </a:lnTo>
                  <a:lnTo>
                    <a:pt x="700" y="5490"/>
                  </a:lnTo>
                  <a:lnTo>
                    <a:pt x="681" y="5462"/>
                  </a:lnTo>
                  <a:lnTo>
                    <a:pt x="663" y="5434"/>
                  </a:lnTo>
                  <a:lnTo>
                    <a:pt x="647" y="5404"/>
                  </a:lnTo>
                  <a:lnTo>
                    <a:pt x="632" y="5374"/>
                  </a:lnTo>
                  <a:lnTo>
                    <a:pt x="619" y="5345"/>
                  </a:lnTo>
                  <a:lnTo>
                    <a:pt x="608" y="5314"/>
                  </a:lnTo>
                  <a:lnTo>
                    <a:pt x="596" y="5284"/>
                  </a:lnTo>
                  <a:lnTo>
                    <a:pt x="587" y="5253"/>
                  </a:lnTo>
                  <a:lnTo>
                    <a:pt x="579" y="5223"/>
                  </a:lnTo>
                  <a:lnTo>
                    <a:pt x="564" y="5164"/>
                  </a:lnTo>
                  <a:lnTo>
                    <a:pt x="559" y="5136"/>
                  </a:lnTo>
                  <a:lnTo>
                    <a:pt x="554" y="5109"/>
                  </a:lnTo>
                  <a:lnTo>
                    <a:pt x="550" y="5083"/>
                  </a:lnTo>
                  <a:lnTo>
                    <a:pt x="546" y="5058"/>
                  </a:lnTo>
                  <a:lnTo>
                    <a:pt x="544" y="5034"/>
                  </a:lnTo>
                  <a:lnTo>
                    <a:pt x="541" y="5013"/>
                  </a:lnTo>
                  <a:lnTo>
                    <a:pt x="540" y="4993"/>
                  </a:lnTo>
                  <a:lnTo>
                    <a:pt x="538" y="4976"/>
                  </a:lnTo>
                  <a:lnTo>
                    <a:pt x="538" y="4960"/>
                  </a:lnTo>
                  <a:lnTo>
                    <a:pt x="536" y="4947"/>
                  </a:lnTo>
                  <a:lnTo>
                    <a:pt x="536" y="4937"/>
                  </a:lnTo>
                  <a:lnTo>
                    <a:pt x="535" y="4929"/>
                  </a:lnTo>
                  <a:lnTo>
                    <a:pt x="535" y="4924"/>
                  </a:lnTo>
                  <a:lnTo>
                    <a:pt x="535" y="4923"/>
                  </a:lnTo>
                  <a:lnTo>
                    <a:pt x="535" y="4922"/>
                  </a:lnTo>
                  <a:lnTo>
                    <a:pt x="533" y="4921"/>
                  </a:lnTo>
                  <a:lnTo>
                    <a:pt x="530" y="4920"/>
                  </a:lnTo>
                  <a:lnTo>
                    <a:pt x="526" y="4917"/>
                  </a:lnTo>
                  <a:lnTo>
                    <a:pt x="516" y="4909"/>
                  </a:lnTo>
                  <a:lnTo>
                    <a:pt x="503" y="4899"/>
                  </a:lnTo>
                  <a:lnTo>
                    <a:pt x="488" y="4884"/>
                  </a:lnTo>
                  <a:lnTo>
                    <a:pt x="471" y="4866"/>
                  </a:lnTo>
                  <a:lnTo>
                    <a:pt x="455" y="4844"/>
                  </a:lnTo>
                  <a:lnTo>
                    <a:pt x="438" y="4818"/>
                  </a:lnTo>
                  <a:lnTo>
                    <a:pt x="430" y="4804"/>
                  </a:lnTo>
                  <a:lnTo>
                    <a:pt x="423" y="4788"/>
                  </a:lnTo>
                  <a:lnTo>
                    <a:pt x="416" y="4772"/>
                  </a:lnTo>
                  <a:lnTo>
                    <a:pt x="410" y="4754"/>
                  </a:lnTo>
                  <a:lnTo>
                    <a:pt x="404" y="4736"/>
                  </a:lnTo>
                  <a:lnTo>
                    <a:pt x="399" y="4716"/>
                  </a:lnTo>
                  <a:lnTo>
                    <a:pt x="395" y="4696"/>
                  </a:lnTo>
                  <a:lnTo>
                    <a:pt x="391" y="4673"/>
                  </a:lnTo>
                  <a:lnTo>
                    <a:pt x="389" y="4650"/>
                  </a:lnTo>
                  <a:lnTo>
                    <a:pt x="388" y="4627"/>
                  </a:lnTo>
                  <a:lnTo>
                    <a:pt x="388" y="4601"/>
                  </a:lnTo>
                  <a:lnTo>
                    <a:pt x="390" y="4574"/>
                  </a:lnTo>
                  <a:lnTo>
                    <a:pt x="393" y="4546"/>
                  </a:lnTo>
                  <a:lnTo>
                    <a:pt x="397" y="4517"/>
                  </a:lnTo>
                  <a:lnTo>
                    <a:pt x="403" y="4488"/>
                  </a:lnTo>
                  <a:lnTo>
                    <a:pt x="412" y="4456"/>
                  </a:lnTo>
                  <a:lnTo>
                    <a:pt x="421" y="4424"/>
                  </a:lnTo>
                  <a:lnTo>
                    <a:pt x="433" y="4392"/>
                  </a:lnTo>
                  <a:lnTo>
                    <a:pt x="449" y="4361"/>
                  </a:lnTo>
                  <a:lnTo>
                    <a:pt x="465" y="4329"/>
                  </a:lnTo>
                  <a:lnTo>
                    <a:pt x="484" y="4298"/>
                  </a:lnTo>
                  <a:lnTo>
                    <a:pt x="503" y="4268"/>
                  </a:lnTo>
                  <a:lnTo>
                    <a:pt x="525" y="4238"/>
                  </a:lnTo>
                  <a:lnTo>
                    <a:pt x="548" y="4209"/>
                  </a:lnTo>
                  <a:lnTo>
                    <a:pt x="573" y="4181"/>
                  </a:lnTo>
                  <a:lnTo>
                    <a:pt x="597" y="4152"/>
                  </a:lnTo>
                  <a:lnTo>
                    <a:pt x="650" y="4098"/>
                  </a:lnTo>
                  <a:lnTo>
                    <a:pt x="704" y="4048"/>
                  </a:lnTo>
                  <a:lnTo>
                    <a:pt x="758" y="4000"/>
                  </a:lnTo>
                  <a:lnTo>
                    <a:pt x="785" y="3978"/>
                  </a:lnTo>
                  <a:lnTo>
                    <a:pt x="811" y="3957"/>
                  </a:lnTo>
                  <a:lnTo>
                    <a:pt x="837" y="3936"/>
                  </a:lnTo>
                  <a:lnTo>
                    <a:pt x="863" y="3918"/>
                  </a:lnTo>
                  <a:lnTo>
                    <a:pt x="886" y="3900"/>
                  </a:lnTo>
                  <a:lnTo>
                    <a:pt x="909" y="3884"/>
                  </a:lnTo>
                  <a:lnTo>
                    <a:pt x="931" y="3870"/>
                  </a:lnTo>
                  <a:lnTo>
                    <a:pt x="950" y="3855"/>
                  </a:lnTo>
                  <a:lnTo>
                    <a:pt x="969" y="3843"/>
                  </a:lnTo>
                  <a:lnTo>
                    <a:pt x="986" y="3832"/>
                  </a:lnTo>
                  <a:lnTo>
                    <a:pt x="1000" y="3823"/>
                  </a:lnTo>
                  <a:lnTo>
                    <a:pt x="1012" y="3815"/>
                  </a:lnTo>
                  <a:lnTo>
                    <a:pt x="1022" y="3810"/>
                  </a:lnTo>
                  <a:lnTo>
                    <a:pt x="1029" y="3805"/>
                  </a:lnTo>
                  <a:lnTo>
                    <a:pt x="1033" y="3803"/>
                  </a:lnTo>
                  <a:lnTo>
                    <a:pt x="1035" y="3802"/>
                  </a:lnTo>
                  <a:lnTo>
                    <a:pt x="1034" y="3803"/>
                  </a:lnTo>
                  <a:lnTo>
                    <a:pt x="1033" y="3805"/>
                  </a:lnTo>
                  <a:lnTo>
                    <a:pt x="1032" y="3809"/>
                  </a:lnTo>
                  <a:lnTo>
                    <a:pt x="1030" y="3814"/>
                  </a:lnTo>
                  <a:lnTo>
                    <a:pt x="1027" y="3821"/>
                  </a:lnTo>
                  <a:lnTo>
                    <a:pt x="1024" y="3830"/>
                  </a:lnTo>
                  <a:lnTo>
                    <a:pt x="1020" y="3841"/>
                  </a:lnTo>
                  <a:lnTo>
                    <a:pt x="1015" y="3852"/>
                  </a:lnTo>
                  <a:lnTo>
                    <a:pt x="1011" y="3865"/>
                  </a:lnTo>
                  <a:lnTo>
                    <a:pt x="1007" y="3881"/>
                  </a:lnTo>
                  <a:lnTo>
                    <a:pt x="1002" y="3897"/>
                  </a:lnTo>
                  <a:lnTo>
                    <a:pt x="997" y="3915"/>
                  </a:lnTo>
                  <a:lnTo>
                    <a:pt x="992" y="3933"/>
                  </a:lnTo>
                  <a:lnTo>
                    <a:pt x="987" y="3954"/>
                  </a:lnTo>
                  <a:lnTo>
                    <a:pt x="981" y="3977"/>
                  </a:lnTo>
                  <a:lnTo>
                    <a:pt x="976" y="4000"/>
                  </a:lnTo>
                  <a:lnTo>
                    <a:pt x="971" y="4025"/>
                  </a:lnTo>
                  <a:lnTo>
                    <a:pt x="966" y="4051"/>
                  </a:lnTo>
                  <a:lnTo>
                    <a:pt x="962" y="4079"/>
                  </a:lnTo>
                  <a:lnTo>
                    <a:pt x="957" y="4107"/>
                  </a:lnTo>
                  <a:lnTo>
                    <a:pt x="953" y="4137"/>
                  </a:lnTo>
                  <a:lnTo>
                    <a:pt x="949" y="4168"/>
                  </a:lnTo>
                  <a:lnTo>
                    <a:pt x="945" y="4201"/>
                  </a:lnTo>
                  <a:lnTo>
                    <a:pt x="942" y="4235"/>
                  </a:lnTo>
                  <a:lnTo>
                    <a:pt x="940" y="4270"/>
                  </a:lnTo>
                  <a:lnTo>
                    <a:pt x="938" y="4306"/>
                  </a:lnTo>
                  <a:lnTo>
                    <a:pt x="937" y="4344"/>
                  </a:lnTo>
                  <a:lnTo>
                    <a:pt x="936" y="4382"/>
                  </a:lnTo>
                  <a:lnTo>
                    <a:pt x="936" y="4423"/>
                  </a:lnTo>
                  <a:lnTo>
                    <a:pt x="937" y="4464"/>
                  </a:lnTo>
                  <a:lnTo>
                    <a:pt x="938" y="4506"/>
                  </a:lnTo>
                  <a:lnTo>
                    <a:pt x="941" y="4549"/>
                  </a:lnTo>
                  <a:lnTo>
                    <a:pt x="943" y="4575"/>
                  </a:lnTo>
                  <a:lnTo>
                    <a:pt x="943" y="4599"/>
                  </a:lnTo>
                  <a:lnTo>
                    <a:pt x="943" y="4621"/>
                  </a:lnTo>
                  <a:lnTo>
                    <a:pt x="940" y="4643"/>
                  </a:lnTo>
                  <a:lnTo>
                    <a:pt x="937" y="4664"/>
                  </a:lnTo>
                  <a:lnTo>
                    <a:pt x="933" y="4682"/>
                  </a:lnTo>
                  <a:lnTo>
                    <a:pt x="927" y="4700"/>
                  </a:lnTo>
                  <a:lnTo>
                    <a:pt x="921" y="4716"/>
                  </a:lnTo>
                  <a:lnTo>
                    <a:pt x="912" y="4732"/>
                  </a:lnTo>
                  <a:lnTo>
                    <a:pt x="904" y="4746"/>
                  </a:lnTo>
                  <a:lnTo>
                    <a:pt x="896" y="4758"/>
                  </a:lnTo>
                  <a:lnTo>
                    <a:pt x="885" y="4771"/>
                  </a:lnTo>
                  <a:lnTo>
                    <a:pt x="866" y="4792"/>
                  </a:lnTo>
                  <a:lnTo>
                    <a:pt x="844" y="4810"/>
                  </a:lnTo>
                  <a:lnTo>
                    <a:pt x="821" y="4824"/>
                  </a:lnTo>
                  <a:lnTo>
                    <a:pt x="801" y="4836"/>
                  </a:lnTo>
                  <a:lnTo>
                    <a:pt x="780" y="4845"/>
                  </a:lnTo>
                  <a:lnTo>
                    <a:pt x="762" y="4851"/>
                  </a:lnTo>
                  <a:lnTo>
                    <a:pt x="746" y="4856"/>
                  </a:lnTo>
                  <a:lnTo>
                    <a:pt x="740" y="4857"/>
                  </a:lnTo>
                  <a:lnTo>
                    <a:pt x="734" y="4858"/>
                  </a:lnTo>
                  <a:lnTo>
                    <a:pt x="730" y="4859"/>
                  </a:lnTo>
                  <a:lnTo>
                    <a:pt x="725" y="4860"/>
                  </a:lnTo>
                  <a:lnTo>
                    <a:pt x="723" y="4860"/>
                  </a:lnTo>
                  <a:lnTo>
                    <a:pt x="723" y="4860"/>
                  </a:lnTo>
                  <a:lnTo>
                    <a:pt x="723" y="4861"/>
                  </a:lnTo>
                  <a:lnTo>
                    <a:pt x="724" y="4865"/>
                  </a:lnTo>
                  <a:lnTo>
                    <a:pt x="726" y="4869"/>
                  </a:lnTo>
                  <a:lnTo>
                    <a:pt x="728" y="4874"/>
                  </a:lnTo>
                  <a:lnTo>
                    <a:pt x="733" y="4881"/>
                  </a:lnTo>
                  <a:lnTo>
                    <a:pt x="737" y="4889"/>
                  </a:lnTo>
                  <a:lnTo>
                    <a:pt x="741" y="4899"/>
                  </a:lnTo>
                  <a:lnTo>
                    <a:pt x="747" y="4910"/>
                  </a:lnTo>
                  <a:lnTo>
                    <a:pt x="760" y="4933"/>
                  </a:lnTo>
                  <a:lnTo>
                    <a:pt x="777" y="4959"/>
                  </a:lnTo>
                  <a:lnTo>
                    <a:pt x="798" y="4987"/>
                  </a:lnTo>
                  <a:lnTo>
                    <a:pt x="820" y="5017"/>
                  </a:lnTo>
                  <a:lnTo>
                    <a:pt x="847" y="5046"/>
                  </a:lnTo>
                  <a:lnTo>
                    <a:pt x="877" y="5074"/>
                  </a:lnTo>
                  <a:lnTo>
                    <a:pt x="910" y="5100"/>
                  </a:lnTo>
                  <a:lnTo>
                    <a:pt x="946" y="5124"/>
                  </a:lnTo>
                  <a:lnTo>
                    <a:pt x="966" y="5134"/>
                  </a:lnTo>
                  <a:lnTo>
                    <a:pt x="987" y="5144"/>
                  </a:lnTo>
                  <a:lnTo>
                    <a:pt x="1008" y="5152"/>
                  </a:lnTo>
                  <a:lnTo>
                    <a:pt x="1030" y="5159"/>
                  </a:lnTo>
                  <a:lnTo>
                    <a:pt x="1054" y="5164"/>
                  </a:lnTo>
                  <a:lnTo>
                    <a:pt x="1077" y="5168"/>
                  </a:lnTo>
                  <a:lnTo>
                    <a:pt x="1102" y="5171"/>
                  </a:lnTo>
                  <a:lnTo>
                    <a:pt x="1128" y="5173"/>
                  </a:lnTo>
                  <a:lnTo>
                    <a:pt x="1190" y="5173"/>
                  </a:lnTo>
                  <a:lnTo>
                    <a:pt x="1219" y="5168"/>
                  </a:lnTo>
                  <a:lnTo>
                    <a:pt x="1247" y="5163"/>
                  </a:lnTo>
                  <a:lnTo>
                    <a:pt x="1275" y="5155"/>
                  </a:lnTo>
                  <a:lnTo>
                    <a:pt x="1301" y="5146"/>
                  </a:lnTo>
                  <a:lnTo>
                    <a:pt x="1328" y="5133"/>
                  </a:lnTo>
                  <a:lnTo>
                    <a:pt x="1355" y="5120"/>
                  </a:lnTo>
                  <a:lnTo>
                    <a:pt x="1382" y="5104"/>
                  </a:lnTo>
                  <a:lnTo>
                    <a:pt x="1409" y="5085"/>
                  </a:lnTo>
                  <a:lnTo>
                    <a:pt x="1436" y="5064"/>
                  </a:lnTo>
                  <a:lnTo>
                    <a:pt x="1464" y="5041"/>
                  </a:lnTo>
                  <a:lnTo>
                    <a:pt x="1492" y="5015"/>
                  </a:lnTo>
                  <a:lnTo>
                    <a:pt x="1521" y="4986"/>
                  </a:lnTo>
                  <a:lnTo>
                    <a:pt x="1551" y="4955"/>
                  </a:lnTo>
                  <a:lnTo>
                    <a:pt x="1583" y="4921"/>
                  </a:lnTo>
                  <a:lnTo>
                    <a:pt x="1616" y="4885"/>
                  </a:lnTo>
                  <a:lnTo>
                    <a:pt x="1650" y="4845"/>
                  </a:lnTo>
                  <a:lnTo>
                    <a:pt x="1686" y="4803"/>
                  </a:lnTo>
                  <a:lnTo>
                    <a:pt x="1724" y="4757"/>
                  </a:lnTo>
                  <a:lnTo>
                    <a:pt x="1763" y="4709"/>
                  </a:lnTo>
                  <a:lnTo>
                    <a:pt x="1805" y="4657"/>
                  </a:lnTo>
                  <a:lnTo>
                    <a:pt x="1850" y="4603"/>
                  </a:lnTo>
                  <a:lnTo>
                    <a:pt x="1896" y="4544"/>
                  </a:lnTo>
                  <a:lnTo>
                    <a:pt x="1945" y="4483"/>
                  </a:lnTo>
                  <a:lnTo>
                    <a:pt x="1997" y="4419"/>
                  </a:lnTo>
                  <a:lnTo>
                    <a:pt x="2052" y="4351"/>
                  </a:lnTo>
                  <a:lnTo>
                    <a:pt x="2110" y="4278"/>
                  </a:lnTo>
                  <a:lnTo>
                    <a:pt x="2171" y="4203"/>
                  </a:lnTo>
                  <a:lnTo>
                    <a:pt x="2236" y="4124"/>
                  </a:lnTo>
                  <a:lnTo>
                    <a:pt x="2304" y="4042"/>
                  </a:lnTo>
                  <a:lnTo>
                    <a:pt x="2375" y="3955"/>
                  </a:lnTo>
                  <a:lnTo>
                    <a:pt x="2451" y="3864"/>
                  </a:lnTo>
                  <a:lnTo>
                    <a:pt x="2491" y="3818"/>
                  </a:lnTo>
                  <a:lnTo>
                    <a:pt x="2531" y="3770"/>
                  </a:lnTo>
                  <a:lnTo>
                    <a:pt x="2565" y="3730"/>
                  </a:lnTo>
                  <a:lnTo>
                    <a:pt x="2601" y="3692"/>
                  </a:lnTo>
                  <a:lnTo>
                    <a:pt x="2638" y="3655"/>
                  </a:lnTo>
                  <a:lnTo>
                    <a:pt x="2676" y="3619"/>
                  </a:lnTo>
                  <a:lnTo>
                    <a:pt x="2717" y="3583"/>
                  </a:lnTo>
                  <a:lnTo>
                    <a:pt x="2757" y="3548"/>
                  </a:lnTo>
                  <a:lnTo>
                    <a:pt x="2799" y="3514"/>
                  </a:lnTo>
                  <a:lnTo>
                    <a:pt x="2843" y="3481"/>
                  </a:lnTo>
                  <a:lnTo>
                    <a:pt x="2931" y="3417"/>
                  </a:lnTo>
                  <a:lnTo>
                    <a:pt x="3024" y="3357"/>
                  </a:lnTo>
                  <a:lnTo>
                    <a:pt x="3119" y="3299"/>
                  </a:lnTo>
                  <a:lnTo>
                    <a:pt x="3217" y="3244"/>
                  </a:lnTo>
                  <a:lnTo>
                    <a:pt x="3318" y="3193"/>
                  </a:lnTo>
                  <a:lnTo>
                    <a:pt x="3420" y="3144"/>
                  </a:lnTo>
                  <a:lnTo>
                    <a:pt x="3522" y="3098"/>
                  </a:lnTo>
                  <a:lnTo>
                    <a:pt x="3625" y="3055"/>
                  </a:lnTo>
                  <a:lnTo>
                    <a:pt x="3727" y="3015"/>
                  </a:lnTo>
                  <a:lnTo>
                    <a:pt x="3830" y="2976"/>
                  </a:lnTo>
                  <a:lnTo>
                    <a:pt x="3931" y="2941"/>
                  </a:lnTo>
                  <a:lnTo>
                    <a:pt x="4031" y="2908"/>
                  </a:lnTo>
                  <a:lnTo>
                    <a:pt x="4128" y="2879"/>
                  </a:lnTo>
                  <a:lnTo>
                    <a:pt x="4223" y="2851"/>
                  </a:lnTo>
                  <a:lnTo>
                    <a:pt x="4315" y="2825"/>
                  </a:lnTo>
                  <a:lnTo>
                    <a:pt x="4359" y="2814"/>
                  </a:lnTo>
                  <a:lnTo>
                    <a:pt x="4403" y="2802"/>
                  </a:lnTo>
                  <a:lnTo>
                    <a:pt x="4445" y="2792"/>
                  </a:lnTo>
                  <a:lnTo>
                    <a:pt x="4487" y="2782"/>
                  </a:lnTo>
                  <a:lnTo>
                    <a:pt x="4527" y="2771"/>
                  </a:lnTo>
                  <a:lnTo>
                    <a:pt x="4567" y="2762"/>
                  </a:lnTo>
                  <a:lnTo>
                    <a:pt x="4604" y="2754"/>
                  </a:lnTo>
                  <a:lnTo>
                    <a:pt x="4640" y="2746"/>
                  </a:lnTo>
                  <a:lnTo>
                    <a:pt x="4675" y="2739"/>
                  </a:lnTo>
                  <a:lnTo>
                    <a:pt x="4709" y="2731"/>
                  </a:lnTo>
                  <a:lnTo>
                    <a:pt x="4741" y="2724"/>
                  </a:lnTo>
                  <a:lnTo>
                    <a:pt x="4771" y="2719"/>
                  </a:lnTo>
                  <a:lnTo>
                    <a:pt x="4800" y="2713"/>
                  </a:lnTo>
                  <a:lnTo>
                    <a:pt x="4827" y="2708"/>
                  </a:lnTo>
                  <a:lnTo>
                    <a:pt x="4853" y="2702"/>
                  </a:lnTo>
                  <a:lnTo>
                    <a:pt x="4875" y="2698"/>
                  </a:lnTo>
                  <a:lnTo>
                    <a:pt x="4897" y="2695"/>
                  </a:lnTo>
                  <a:lnTo>
                    <a:pt x="4917" y="2691"/>
                  </a:lnTo>
                  <a:lnTo>
                    <a:pt x="4934" y="2688"/>
                  </a:lnTo>
                  <a:lnTo>
                    <a:pt x="4949" y="2686"/>
                  </a:lnTo>
                  <a:lnTo>
                    <a:pt x="4962" y="2684"/>
                  </a:lnTo>
                  <a:lnTo>
                    <a:pt x="4973" y="2682"/>
                  </a:lnTo>
                  <a:lnTo>
                    <a:pt x="4982" y="2681"/>
                  </a:lnTo>
                  <a:lnTo>
                    <a:pt x="4988" y="2680"/>
                  </a:lnTo>
                  <a:lnTo>
                    <a:pt x="4992" y="2679"/>
                  </a:lnTo>
                  <a:lnTo>
                    <a:pt x="4993" y="2679"/>
                  </a:lnTo>
                  <a:lnTo>
                    <a:pt x="4991" y="2681"/>
                  </a:lnTo>
                  <a:lnTo>
                    <a:pt x="4986" y="2686"/>
                  </a:lnTo>
                  <a:lnTo>
                    <a:pt x="4978" y="2695"/>
                  </a:lnTo>
                  <a:lnTo>
                    <a:pt x="4967" y="2708"/>
                  </a:lnTo>
                  <a:lnTo>
                    <a:pt x="4953" y="2723"/>
                  </a:lnTo>
                  <a:lnTo>
                    <a:pt x="4936" y="2742"/>
                  </a:lnTo>
                  <a:lnTo>
                    <a:pt x="4918" y="2762"/>
                  </a:lnTo>
                  <a:lnTo>
                    <a:pt x="4897" y="2785"/>
                  </a:lnTo>
                  <a:lnTo>
                    <a:pt x="4873" y="2811"/>
                  </a:lnTo>
                  <a:lnTo>
                    <a:pt x="4848" y="2838"/>
                  </a:lnTo>
                  <a:lnTo>
                    <a:pt x="4822" y="2868"/>
                  </a:lnTo>
                  <a:lnTo>
                    <a:pt x="4794" y="2899"/>
                  </a:lnTo>
                  <a:lnTo>
                    <a:pt x="4765" y="2932"/>
                  </a:lnTo>
                  <a:lnTo>
                    <a:pt x="4734" y="2966"/>
                  </a:lnTo>
                  <a:lnTo>
                    <a:pt x="4702" y="3001"/>
                  </a:lnTo>
                  <a:lnTo>
                    <a:pt x="4670" y="3037"/>
                  </a:lnTo>
                  <a:lnTo>
                    <a:pt x="4603" y="3111"/>
                  </a:lnTo>
                  <a:lnTo>
                    <a:pt x="4535" y="3188"/>
                  </a:lnTo>
                  <a:lnTo>
                    <a:pt x="4468" y="3263"/>
                  </a:lnTo>
                  <a:lnTo>
                    <a:pt x="4401" y="3337"/>
                  </a:lnTo>
                  <a:lnTo>
                    <a:pt x="4369" y="3372"/>
                  </a:lnTo>
                  <a:lnTo>
                    <a:pt x="4339" y="3407"/>
                  </a:lnTo>
                  <a:lnTo>
                    <a:pt x="4309" y="3440"/>
                  </a:lnTo>
                  <a:lnTo>
                    <a:pt x="4280" y="3473"/>
                  </a:lnTo>
                  <a:lnTo>
                    <a:pt x="4253" y="3503"/>
                  </a:lnTo>
                  <a:lnTo>
                    <a:pt x="4227" y="3532"/>
                  </a:lnTo>
                  <a:lnTo>
                    <a:pt x="4204" y="3558"/>
                  </a:lnTo>
                  <a:lnTo>
                    <a:pt x="4183" y="3583"/>
                  </a:lnTo>
                  <a:lnTo>
                    <a:pt x="4164" y="3607"/>
                  </a:lnTo>
                  <a:lnTo>
                    <a:pt x="4143" y="3634"/>
                  </a:lnTo>
                  <a:lnTo>
                    <a:pt x="4121" y="3661"/>
                  </a:lnTo>
                  <a:lnTo>
                    <a:pt x="4097" y="3691"/>
                  </a:lnTo>
                  <a:lnTo>
                    <a:pt x="4071" y="3723"/>
                  </a:lnTo>
                  <a:lnTo>
                    <a:pt x="4044" y="3756"/>
                  </a:lnTo>
                  <a:lnTo>
                    <a:pt x="4016" y="3791"/>
                  </a:lnTo>
                  <a:lnTo>
                    <a:pt x="3988" y="3828"/>
                  </a:lnTo>
                  <a:lnTo>
                    <a:pt x="3958" y="3865"/>
                  </a:lnTo>
                  <a:lnTo>
                    <a:pt x="3927" y="3905"/>
                  </a:lnTo>
                  <a:lnTo>
                    <a:pt x="3897" y="3945"/>
                  </a:lnTo>
                  <a:lnTo>
                    <a:pt x="3866" y="3987"/>
                  </a:lnTo>
                  <a:lnTo>
                    <a:pt x="3834" y="4029"/>
                  </a:lnTo>
                  <a:lnTo>
                    <a:pt x="3803" y="4073"/>
                  </a:lnTo>
                  <a:lnTo>
                    <a:pt x="3742" y="4163"/>
                  </a:lnTo>
                  <a:lnTo>
                    <a:pt x="3684" y="4257"/>
                  </a:lnTo>
                  <a:lnTo>
                    <a:pt x="3656" y="4305"/>
                  </a:lnTo>
                  <a:lnTo>
                    <a:pt x="3629" y="4354"/>
                  </a:lnTo>
                  <a:lnTo>
                    <a:pt x="3605" y="4402"/>
                  </a:lnTo>
                  <a:lnTo>
                    <a:pt x="3581" y="4451"/>
                  </a:lnTo>
                  <a:lnTo>
                    <a:pt x="3558" y="4502"/>
                  </a:lnTo>
                  <a:lnTo>
                    <a:pt x="3538" y="4551"/>
                  </a:lnTo>
                  <a:lnTo>
                    <a:pt x="3520" y="4602"/>
                  </a:lnTo>
                  <a:lnTo>
                    <a:pt x="3504" y="4652"/>
                  </a:lnTo>
                  <a:lnTo>
                    <a:pt x="3491" y="4703"/>
                  </a:lnTo>
                  <a:lnTo>
                    <a:pt x="3480" y="4753"/>
                  </a:lnTo>
                  <a:lnTo>
                    <a:pt x="3471" y="4804"/>
                  </a:lnTo>
                  <a:lnTo>
                    <a:pt x="3466" y="4854"/>
                  </a:lnTo>
                  <a:lnTo>
                    <a:pt x="3464" y="4905"/>
                  </a:lnTo>
                  <a:lnTo>
                    <a:pt x="3465" y="4954"/>
                  </a:lnTo>
                  <a:lnTo>
                    <a:pt x="3469" y="4984"/>
                  </a:lnTo>
                  <a:lnTo>
                    <a:pt x="3474" y="5014"/>
                  </a:lnTo>
                  <a:lnTo>
                    <a:pt x="3482" y="5045"/>
                  </a:lnTo>
                  <a:lnTo>
                    <a:pt x="3491" y="5076"/>
                  </a:lnTo>
                  <a:lnTo>
                    <a:pt x="3501" y="5107"/>
                  </a:lnTo>
                  <a:lnTo>
                    <a:pt x="3513" y="5139"/>
                  </a:lnTo>
                  <a:lnTo>
                    <a:pt x="3526" y="5170"/>
                  </a:lnTo>
                  <a:lnTo>
                    <a:pt x="3541" y="5202"/>
                  </a:lnTo>
                  <a:lnTo>
                    <a:pt x="3557" y="5234"/>
                  </a:lnTo>
                  <a:lnTo>
                    <a:pt x="3574" y="5267"/>
                  </a:lnTo>
                  <a:lnTo>
                    <a:pt x="3591" y="5300"/>
                  </a:lnTo>
                  <a:lnTo>
                    <a:pt x="3611" y="5333"/>
                  </a:lnTo>
                  <a:lnTo>
                    <a:pt x="3651" y="5399"/>
                  </a:lnTo>
                  <a:lnTo>
                    <a:pt x="3695" y="5465"/>
                  </a:lnTo>
                  <a:lnTo>
                    <a:pt x="3742" y="5530"/>
                  </a:lnTo>
                  <a:lnTo>
                    <a:pt x="3790" y="5595"/>
                  </a:lnTo>
                  <a:lnTo>
                    <a:pt x="3840" y="5659"/>
                  </a:lnTo>
                  <a:lnTo>
                    <a:pt x="3890" y="5722"/>
                  </a:lnTo>
                  <a:lnTo>
                    <a:pt x="3941" y="5782"/>
                  </a:lnTo>
                  <a:lnTo>
                    <a:pt x="3992" y="5841"/>
                  </a:lnTo>
                  <a:lnTo>
                    <a:pt x="4041" y="5898"/>
                  </a:lnTo>
                  <a:lnTo>
                    <a:pt x="4089" y="5951"/>
                  </a:lnTo>
                  <a:lnTo>
                    <a:pt x="4117" y="5986"/>
                  </a:lnTo>
                  <a:lnTo>
                    <a:pt x="4141" y="6020"/>
                  </a:lnTo>
                  <a:lnTo>
                    <a:pt x="4164" y="6052"/>
                  </a:lnTo>
                  <a:lnTo>
                    <a:pt x="4184" y="6084"/>
                  </a:lnTo>
                  <a:lnTo>
                    <a:pt x="4201" y="6114"/>
                  </a:lnTo>
                  <a:lnTo>
                    <a:pt x="4217" y="6142"/>
                  </a:lnTo>
                  <a:lnTo>
                    <a:pt x="4230" y="6169"/>
                  </a:lnTo>
                  <a:lnTo>
                    <a:pt x="4240" y="6193"/>
                  </a:lnTo>
                  <a:lnTo>
                    <a:pt x="4250" y="6215"/>
                  </a:lnTo>
                  <a:lnTo>
                    <a:pt x="4258" y="6236"/>
                  </a:lnTo>
                  <a:lnTo>
                    <a:pt x="4264" y="6253"/>
                  </a:lnTo>
                  <a:lnTo>
                    <a:pt x="4268" y="6267"/>
                  </a:lnTo>
                  <a:lnTo>
                    <a:pt x="4272" y="6279"/>
                  </a:lnTo>
                  <a:lnTo>
                    <a:pt x="4275" y="6287"/>
                  </a:lnTo>
                  <a:lnTo>
                    <a:pt x="4276" y="6293"/>
                  </a:lnTo>
                  <a:lnTo>
                    <a:pt x="4276" y="6294"/>
                  </a:lnTo>
                  <a:lnTo>
                    <a:pt x="3902" y="6856"/>
                  </a:lnTo>
                  <a:lnTo>
                    <a:pt x="3902" y="6856"/>
                  </a:lnTo>
                  <a:lnTo>
                    <a:pt x="3904" y="6858"/>
                  </a:lnTo>
                  <a:lnTo>
                    <a:pt x="3906" y="6861"/>
                  </a:lnTo>
                  <a:lnTo>
                    <a:pt x="3909" y="6865"/>
                  </a:lnTo>
                  <a:lnTo>
                    <a:pt x="3914" y="6870"/>
                  </a:lnTo>
                  <a:lnTo>
                    <a:pt x="3919" y="6877"/>
                  </a:lnTo>
                  <a:lnTo>
                    <a:pt x="3926" y="6884"/>
                  </a:lnTo>
                  <a:lnTo>
                    <a:pt x="3932" y="6893"/>
                  </a:lnTo>
                  <a:lnTo>
                    <a:pt x="3948" y="6912"/>
                  </a:lnTo>
                  <a:lnTo>
                    <a:pt x="3968" y="6936"/>
                  </a:lnTo>
                  <a:lnTo>
                    <a:pt x="3992" y="6963"/>
                  </a:lnTo>
                  <a:lnTo>
                    <a:pt x="4017" y="6993"/>
                  </a:lnTo>
                  <a:lnTo>
                    <a:pt x="4045" y="7025"/>
                  </a:lnTo>
                  <a:lnTo>
                    <a:pt x="4077" y="7059"/>
                  </a:lnTo>
                  <a:lnTo>
                    <a:pt x="4110" y="7095"/>
                  </a:lnTo>
                  <a:lnTo>
                    <a:pt x="4147" y="7133"/>
                  </a:lnTo>
                  <a:lnTo>
                    <a:pt x="4185" y="7173"/>
                  </a:lnTo>
                  <a:lnTo>
                    <a:pt x="4225" y="7213"/>
                  </a:lnTo>
                  <a:lnTo>
                    <a:pt x="4267" y="7254"/>
                  </a:lnTo>
                  <a:lnTo>
                    <a:pt x="4311" y="7295"/>
                  </a:lnTo>
                  <a:lnTo>
                    <a:pt x="4356" y="7338"/>
                  </a:lnTo>
                  <a:lnTo>
                    <a:pt x="4403" y="7379"/>
                  </a:lnTo>
                  <a:lnTo>
                    <a:pt x="4451" y="7419"/>
                  </a:lnTo>
                  <a:lnTo>
                    <a:pt x="4500" y="7459"/>
                  </a:lnTo>
                  <a:lnTo>
                    <a:pt x="4550" y="7498"/>
                  </a:lnTo>
                  <a:lnTo>
                    <a:pt x="4601" y="7535"/>
                  </a:lnTo>
                  <a:lnTo>
                    <a:pt x="4652" y="7571"/>
                  </a:lnTo>
                  <a:lnTo>
                    <a:pt x="4704" y="7604"/>
                  </a:lnTo>
                  <a:lnTo>
                    <a:pt x="4756" y="7635"/>
                  </a:lnTo>
                  <a:lnTo>
                    <a:pt x="4808" y="7664"/>
                  </a:lnTo>
                  <a:lnTo>
                    <a:pt x="4861" y="7690"/>
                  </a:lnTo>
                  <a:lnTo>
                    <a:pt x="4912" y="7712"/>
                  </a:lnTo>
                  <a:lnTo>
                    <a:pt x="4965" y="7730"/>
                  </a:lnTo>
                  <a:lnTo>
                    <a:pt x="4991" y="7737"/>
                  </a:lnTo>
                  <a:lnTo>
                    <a:pt x="5017" y="7744"/>
                  </a:lnTo>
                  <a:lnTo>
                    <a:pt x="5042" y="7750"/>
                  </a:lnTo>
                  <a:lnTo>
                    <a:pt x="5067" y="7754"/>
                  </a:lnTo>
                  <a:lnTo>
                    <a:pt x="5092" y="7757"/>
                  </a:lnTo>
                  <a:lnTo>
                    <a:pt x="5117" y="7759"/>
                  </a:lnTo>
                  <a:lnTo>
                    <a:pt x="5163" y="7758"/>
                  </a:lnTo>
                  <a:lnTo>
                    <a:pt x="5210" y="7755"/>
                  </a:lnTo>
                  <a:lnTo>
                    <a:pt x="5256" y="7750"/>
                  </a:lnTo>
                  <a:lnTo>
                    <a:pt x="5302" y="7742"/>
                  </a:lnTo>
                  <a:lnTo>
                    <a:pt x="5347" y="7733"/>
                  </a:lnTo>
                  <a:lnTo>
                    <a:pt x="5393" y="7723"/>
                  </a:lnTo>
                  <a:lnTo>
                    <a:pt x="5437" y="7711"/>
                  </a:lnTo>
                  <a:lnTo>
                    <a:pt x="5482" y="7696"/>
                  </a:lnTo>
                  <a:lnTo>
                    <a:pt x="5527" y="7681"/>
                  </a:lnTo>
                  <a:lnTo>
                    <a:pt x="5571" y="7664"/>
                  </a:lnTo>
                  <a:lnTo>
                    <a:pt x="5616" y="7646"/>
                  </a:lnTo>
                  <a:lnTo>
                    <a:pt x="5660" y="7626"/>
                  </a:lnTo>
                  <a:lnTo>
                    <a:pt x="5704" y="7605"/>
                  </a:lnTo>
                  <a:lnTo>
                    <a:pt x="5749" y="7584"/>
                  </a:lnTo>
                  <a:lnTo>
                    <a:pt x="5838" y="7538"/>
                  </a:lnTo>
                  <a:lnTo>
                    <a:pt x="5927" y="7487"/>
                  </a:lnTo>
                  <a:lnTo>
                    <a:pt x="6017" y="7435"/>
                  </a:lnTo>
                  <a:lnTo>
                    <a:pt x="6108" y="7381"/>
                  </a:lnTo>
                  <a:lnTo>
                    <a:pt x="6200" y="7325"/>
                  </a:lnTo>
                  <a:lnTo>
                    <a:pt x="6293" y="7269"/>
                  </a:lnTo>
                  <a:lnTo>
                    <a:pt x="6388" y="7213"/>
                  </a:lnTo>
                  <a:lnTo>
                    <a:pt x="6484" y="7158"/>
                  </a:lnTo>
                  <a:lnTo>
                    <a:pt x="6582" y="7105"/>
                  </a:lnTo>
                  <a:lnTo>
                    <a:pt x="6618" y="7087"/>
                  </a:lnTo>
                  <a:lnTo>
                    <a:pt x="6653" y="7072"/>
                  </a:lnTo>
                  <a:lnTo>
                    <a:pt x="6690" y="7059"/>
                  </a:lnTo>
                  <a:lnTo>
                    <a:pt x="6727" y="7045"/>
                  </a:lnTo>
                  <a:lnTo>
                    <a:pt x="6764" y="7034"/>
                  </a:lnTo>
                  <a:lnTo>
                    <a:pt x="6803" y="7025"/>
                  </a:lnTo>
                  <a:lnTo>
                    <a:pt x="6840" y="7015"/>
                  </a:lnTo>
                  <a:lnTo>
                    <a:pt x="6878" y="7007"/>
                  </a:lnTo>
                  <a:lnTo>
                    <a:pt x="6916" y="7001"/>
                  </a:lnTo>
                  <a:lnTo>
                    <a:pt x="6954" y="6995"/>
                  </a:lnTo>
                  <a:lnTo>
                    <a:pt x="7029" y="6986"/>
                  </a:lnTo>
                  <a:lnTo>
                    <a:pt x="7103" y="6981"/>
                  </a:lnTo>
                  <a:lnTo>
                    <a:pt x="7174" y="6980"/>
                  </a:lnTo>
                  <a:lnTo>
                    <a:pt x="7237" y="6981"/>
                  </a:lnTo>
                  <a:lnTo>
                    <a:pt x="7298" y="6984"/>
                  </a:lnTo>
                  <a:lnTo>
                    <a:pt x="7356" y="6988"/>
                  </a:lnTo>
                  <a:lnTo>
                    <a:pt x="7411" y="6995"/>
                  </a:lnTo>
                  <a:lnTo>
                    <a:pt x="7463" y="7002"/>
                  </a:lnTo>
                  <a:lnTo>
                    <a:pt x="7512" y="7009"/>
                  </a:lnTo>
                  <a:lnTo>
                    <a:pt x="7557" y="7018"/>
                  </a:lnTo>
                  <a:lnTo>
                    <a:pt x="7599" y="7027"/>
                  </a:lnTo>
                  <a:lnTo>
                    <a:pt x="7618" y="7031"/>
                  </a:lnTo>
                  <a:lnTo>
                    <a:pt x="7636" y="7035"/>
                  </a:lnTo>
                  <a:lnTo>
                    <a:pt x="7653" y="7040"/>
                  </a:lnTo>
                  <a:lnTo>
                    <a:pt x="7669" y="7044"/>
                  </a:lnTo>
                  <a:lnTo>
                    <a:pt x="7684" y="7048"/>
                  </a:lnTo>
                  <a:lnTo>
                    <a:pt x="7698" y="7051"/>
                  </a:lnTo>
                  <a:lnTo>
                    <a:pt x="7710" y="7055"/>
                  </a:lnTo>
                  <a:lnTo>
                    <a:pt x="7721" y="7059"/>
                  </a:lnTo>
                  <a:lnTo>
                    <a:pt x="7732" y="7062"/>
                  </a:lnTo>
                  <a:lnTo>
                    <a:pt x="7741" y="7065"/>
                  </a:lnTo>
                  <a:lnTo>
                    <a:pt x="7748" y="7067"/>
                  </a:lnTo>
                  <a:lnTo>
                    <a:pt x="7754" y="7069"/>
                  </a:lnTo>
                  <a:lnTo>
                    <a:pt x="7760" y="7071"/>
                  </a:lnTo>
                  <a:lnTo>
                    <a:pt x="7763" y="7072"/>
                  </a:lnTo>
                  <a:lnTo>
                    <a:pt x="7766" y="7073"/>
                  </a:lnTo>
                  <a:lnTo>
                    <a:pt x="7766" y="7073"/>
                  </a:lnTo>
                  <a:lnTo>
                    <a:pt x="7766" y="7073"/>
                  </a:lnTo>
                  <a:lnTo>
                    <a:pt x="7767" y="7071"/>
                  </a:lnTo>
                  <a:lnTo>
                    <a:pt x="7768" y="7069"/>
                  </a:lnTo>
                  <a:lnTo>
                    <a:pt x="7769" y="7065"/>
                  </a:lnTo>
                  <a:lnTo>
                    <a:pt x="7772" y="7054"/>
                  </a:lnTo>
                  <a:lnTo>
                    <a:pt x="7775" y="7040"/>
                  </a:lnTo>
                  <a:lnTo>
                    <a:pt x="7780" y="7021"/>
                  </a:lnTo>
                  <a:lnTo>
                    <a:pt x="7786" y="7000"/>
                  </a:lnTo>
                  <a:lnTo>
                    <a:pt x="7794" y="6974"/>
                  </a:lnTo>
                  <a:lnTo>
                    <a:pt x="7801" y="6945"/>
                  </a:lnTo>
                  <a:lnTo>
                    <a:pt x="7809" y="6913"/>
                  </a:lnTo>
                  <a:lnTo>
                    <a:pt x="7817" y="6879"/>
                  </a:lnTo>
                  <a:lnTo>
                    <a:pt x="7827" y="6841"/>
                  </a:lnTo>
                  <a:lnTo>
                    <a:pt x="7837" y="6800"/>
                  </a:lnTo>
                  <a:lnTo>
                    <a:pt x="7847" y="6758"/>
                  </a:lnTo>
                  <a:lnTo>
                    <a:pt x="7858" y="6711"/>
                  </a:lnTo>
                  <a:lnTo>
                    <a:pt x="7868" y="6664"/>
                  </a:lnTo>
                  <a:lnTo>
                    <a:pt x="7879" y="6614"/>
                  </a:lnTo>
                  <a:lnTo>
                    <a:pt x="7890" y="6562"/>
                  </a:lnTo>
                  <a:lnTo>
                    <a:pt x="7901" y="6507"/>
                  </a:lnTo>
                  <a:lnTo>
                    <a:pt x="7912" y="6452"/>
                  </a:lnTo>
                  <a:lnTo>
                    <a:pt x="7923" y="6395"/>
                  </a:lnTo>
                  <a:lnTo>
                    <a:pt x="7933" y="6336"/>
                  </a:lnTo>
                  <a:lnTo>
                    <a:pt x="7943" y="6276"/>
                  </a:lnTo>
                  <a:lnTo>
                    <a:pt x="7954" y="6215"/>
                  </a:lnTo>
                  <a:lnTo>
                    <a:pt x="7963" y="6153"/>
                  </a:lnTo>
                  <a:lnTo>
                    <a:pt x="7981" y="6026"/>
                  </a:lnTo>
                  <a:lnTo>
                    <a:pt x="7996" y="5899"/>
                  </a:lnTo>
                  <a:lnTo>
                    <a:pt x="8007" y="5769"/>
                  </a:lnTo>
                  <a:lnTo>
                    <a:pt x="8012" y="5704"/>
                  </a:lnTo>
                  <a:lnTo>
                    <a:pt x="8016" y="5640"/>
                  </a:lnTo>
                  <a:lnTo>
                    <a:pt x="8017" y="5597"/>
                  </a:lnTo>
                  <a:lnTo>
                    <a:pt x="8017" y="5555"/>
                  </a:lnTo>
                  <a:lnTo>
                    <a:pt x="8017" y="5513"/>
                  </a:lnTo>
                  <a:lnTo>
                    <a:pt x="8016" y="5473"/>
                  </a:lnTo>
                  <a:lnTo>
                    <a:pt x="8012" y="5397"/>
                  </a:lnTo>
                  <a:lnTo>
                    <a:pt x="8004" y="5323"/>
                  </a:lnTo>
                  <a:lnTo>
                    <a:pt x="7996" y="5253"/>
                  </a:lnTo>
                  <a:lnTo>
                    <a:pt x="7986" y="5186"/>
                  </a:lnTo>
                  <a:lnTo>
                    <a:pt x="7972" y="5121"/>
                  </a:lnTo>
                  <a:lnTo>
                    <a:pt x="7959" y="5058"/>
                  </a:lnTo>
                  <a:lnTo>
                    <a:pt x="7943" y="4997"/>
                  </a:lnTo>
                  <a:lnTo>
                    <a:pt x="7927" y="4938"/>
                  </a:lnTo>
                  <a:lnTo>
                    <a:pt x="7892" y="4820"/>
                  </a:lnTo>
                  <a:lnTo>
                    <a:pt x="7855" y="4704"/>
                  </a:lnTo>
                  <a:lnTo>
                    <a:pt x="7835" y="4644"/>
                  </a:lnTo>
                  <a:lnTo>
                    <a:pt x="7817" y="4584"/>
                  </a:lnTo>
                  <a:lnTo>
                    <a:pt x="7799" y="4523"/>
                  </a:lnTo>
                  <a:lnTo>
                    <a:pt x="7781" y="4460"/>
                  </a:lnTo>
                  <a:lnTo>
                    <a:pt x="7765" y="4395"/>
                  </a:lnTo>
                  <a:lnTo>
                    <a:pt x="7750" y="4327"/>
                  </a:lnTo>
                  <a:lnTo>
                    <a:pt x="7736" y="4256"/>
                  </a:lnTo>
                  <a:lnTo>
                    <a:pt x="7723" y="4183"/>
                  </a:lnTo>
                  <a:lnTo>
                    <a:pt x="7713" y="4104"/>
                  </a:lnTo>
                  <a:lnTo>
                    <a:pt x="7709" y="4064"/>
                  </a:lnTo>
                  <a:lnTo>
                    <a:pt x="7705" y="4023"/>
                  </a:lnTo>
                  <a:lnTo>
                    <a:pt x="7701" y="3981"/>
                  </a:lnTo>
                  <a:lnTo>
                    <a:pt x="7698" y="3936"/>
                  </a:lnTo>
                  <a:lnTo>
                    <a:pt x="7696" y="3892"/>
                  </a:lnTo>
                  <a:lnTo>
                    <a:pt x="7695" y="3846"/>
                  </a:lnTo>
                  <a:lnTo>
                    <a:pt x="7694" y="3798"/>
                  </a:lnTo>
                  <a:lnTo>
                    <a:pt x="7694" y="3750"/>
                  </a:lnTo>
                  <a:lnTo>
                    <a:pt x="7694" y="3700"/>
                  </a:lnTo>
                  <a:lnTo>
                    <a:pt x="7695" y="3648"/>
                  </a:lnTo>
                  <a:lnTo>
                    <a:pt x="7697" y="3596"/>
                  </a:lnTo>
                  <a:lnTo>
                    <a:pt x="7700" y="3541"/>
                  </a:lnTo>
                  <a:lnTo>
                    <a:pt x="7703" y="3484"/>
                  </a:lnTo>
                  <a:lnTo>
                    <a:pt x="7708" y="3427"/>
                  </a:lnTo>
                  <a:lnTo>
                    <a:pt x="7713" y="3367"/>
                  </a:lnTo>
                  <a:lnTo>
                    <a:pt x="7719" y="3306"/>
                  </a:lnTo>
                  <a:lnTo>
                    <a:pt x="7727" y="3243"/>
                  </a:lnTo>
                  <a:lnTo>
                    <a:pt x="7735" y="3178"/>
                  </a:lnTo>
                  <a:lnTo>
                    <a:pt x="7715" y="3213"/>
                  </a:lnTo>
                  <a:lnTo>
                    <a:pt x="7695" y="3250"/>
                  </a:lnTo>
                  <a:lnTo>
                    <a:pt x="7675" y="3289"/>
                  </a:lnTo>
                  <a:lnTo>
                    <a:pt x="7655" y="3328"/>
                  </a:lnTo>
                  <a:lnTo>
                    <a:pt x="7637" y="3368"/>
                  </a:lnTo>
                  <a:lnTo>
                    <a:pt x="7618" y="3410"/>
                  </a:lnTo>
                  <a:lnTo>
                    <a:pt x="7601" y="3453"/>
                  </a:lnTo>
                  <a:lnTo>
                    <a:pt x="7584" y="3499"/>
                  </a:lnTo>
                  <a:lnTo>
                    <a:pt x="7568" y="3545"/>
                  </a:lnTo>
                  <a:lnTo>
                    <a:pt x="7552" y="3592"/>
                  </a:lnTo>
                  <a:lnTo>
                    <a:pt x="7538" y="3643"/>
                  </a:lnTo>
                  <a:lnTo>
                    <a:pt x="7524" y="3694"/>
                  </a:lnTo>
                  <a:lnTo>
                    <a:pt x="7512" y="3747"/>
                  </a:lnTo>
                  <a:lnTo>
                    <a:pt x="7501" y="3803"/>
                  </a:lnTo>
                  <a:lnTo>
                    <a:pt x="7490" y="3859"/>
                  </a:lnTo>
                  <a:lnTo>
                    <a:pt x="7482" y="3918"/>
                  </a:lnTo>
                  <a:lnTo>
                    <a:pt x="7475" y="3979"/>
                  </a:lnTo>
                  <a:lnTo>
                    <a:pt x="7469" y="4042"/>
                  </a:lnTo>
                  <a:lnTo>
                    <a:pt x="7464" y="4107"/>
                  </a:lnTo>
                  <a:lnTo>
                    <a:pt x="7461" y="4174"/>
                  </a:lnTo>
                  <a:lnTo>
                    <a:pt x="7460" y="4243"/>
                  </a:lnTo>
                  <a:lnTo>
                    <a:pt x="7461" y="4316"/>
                  </a:lnTo>
                  <a:lnTo>
                    <a:pt x="7463" y="4390"/>
                  </a:lnTo>
                  <a:lnTo>
                    <a:pt x="7467" y="4466"/>
                  </a:lnTo>
                  <a:lnTo>
                    <a:pt x="7474" y="4545"/>
                  </a:lnTo>
                  <a:lnTo>
                    <a:pt x="7482" y="4627"/>
                  </a:lnTo>
                  <a:lnTo>
                    <a:pt x="7493" y="4711"/>
                  </a:lnTo>
                  <a:lnTo>
                    <a:pt x="7506" y="4798"/>
                  </a:lnTo>
                  <a:lnTo>
                    <a:pt x="7520" y="4887"/>
                  </a:lnTo>
                  <a:lnTo>
                    <a:pt x="7538" y="4980"/>
                  </a:lnTo>
                  <a:lnTo>
                    <a:pt x="7557" y="5075"/>
                  </a:lnTo>
                  <a:lnTo>
                    <a:pt x="7579" y="5173"/>
                  </a:lnTo>
                  <a:lnTo>
                    <a:pt x="7592" y="5228"/>
                  </a:lnTo>
                  <a:lnTo>
                    <a:pt x="7603" y="5287"/>
                  </a:lnTo>
                  <a:lnTo>
                    <a:pt x="7611" y="5346"/>
                  </a:lnTo>
                  <a:lnTo>
                    <a:pt x="7616" y="5405"/>
                  </a:lnTo>
                  <a:lnTo>
                    <a:pt x="7619" y="5466"/>
                  </a:lnTo>
                  <a:lnTo>
                    <a:pt x="7620" y="5528"/>
                  </a:lnTo>
                  <a:lnTo>
                    <a:pt x="7619" y="5589"/>
                  </a:lnTo>
                  <a:lnTo>
                    <a:pt x="7616" y="5651"/>
                  </a:lnTo>
                  <a:lnTo>
                    <a:pt x="7611" y="5713"/>
                  </a:lnTo>
                  <a:lnTo>
                    <a:pt x="7605" y="5774"/>
                  </a:lnTo>
                  <a:lnTo>
                    <a:pt x="7598" y="5836"/>
                  </a:lnTo>
                  <a:lnTo>
                    <a:pt x="7588" y="5896"/>
                  </a:lnTo>
                  <a:lnTo>
                    <a:pt x="7579" y="5955"/>
                  </a:lnTo>
                  <a:lnTo>
                    <a:pt x="7568" y="6014"/>
                  </a:lnTo>
                  <a:lnTo>
                    <a:pt x="7556" y="6071"/>
                  </a:lnTo>
                  <a:lnTo>
                    <a:pt x="7544" y="6126"/>
                  </a:lnTo>
                  <a:lnTo>
                    <a:pt x="7531" y="6181"/>
                  </a:lnTo>
                  <a:lnTo>
                    <a:pt x="7519" y="6232"/>
                  </a:lnTo>
                  <a:lnTo>
                    <a:pt x="7506" y="6282"/>
                  </a:lnTo>
                  <a:lnTo>
                    <a:pt x="7492" y="6329"/>
                  </a:lnTo>
                  <a:lnTo>
                    <a:pt x="7480" y="6375"/>
                  </a:lnTo>
                  <a:lnTo>
                    <a:pt x="7467" y="6417"/>
                  </a:lnTo>
                  <a:lnTo>
                    <a:pt x="7455" y="6456"/>
                  </a:lnTo>
                  <a:lnTo>
                    <a:pt x="7444" y="6491"/>
                  </a:lnTo>
                  <a:lnTo>
                    <a:pt x="7432" y="6524"/>
                  </a:lnTo>
                  <a:lnTo>
                    <a:pt x="7423" y="6553"/>
                  </a:lnTo>
                  <a:lnTo>
                    <a:pt x="7414" y="6578"/>
                  </a:lnTo>
                  <a:lnTo>
                    <a:pt x="7411" y="6589"/>
                  </a:lnTo>
                  <a:lnTo>
                    <a:pt x="7407" y="6598"/>
                  </a:lnTo>
                  <a:lnTo>
                    <a:pt x="7403" y="6607"/>
                  </a:lnTo>
                  <a:lnTo>
                    <a:pt x="7400" y="6615"/>
                  </a:lnTo>
                  <a:lnTo>
                    <a:pt x="7398" y="6622"/>
                  </a:lnTo>
                  <a:lnTo>
                    <a:pt x="7396" y="6627"/>
                  </a:lnTo>
                  <a:lnTo>
                    <a:pt x="7394" y="6631"/>
                  </a:lnTo>
                  <a:lnTo>
                    <a:pt x="7393" y="6634"/>
                  </a:lnTo>
                  <a:lnTo>
                    <a:pt x="7393" y="6636"/>
                  </a:lnTo>
                  <a:lnTo>
                    <a:pt x="7392" y="6637"/>
                  </a:lnTo>
                  <a:lnTo>
                    <a:pt x="7391" y="6636"/>
                  </a:lnTo>
                  <a:lnTo>
                    <a:pt x="7388" y="6635"/>
                  </a:lnTo>
                  <a:lnTo>
                    <a:pt x="7383" y="6634"/>
                  </a:lnTo>
                  <a:lnTo>
                    <a:pt x="7376" y="6632"/>
                  </a:lnTo>
                  <a:lnTo>
                    <a:pt x="7366" y="6630"/>
                  </a:lnTo>
                  <a:lnTo>
                    <a:pt x="7355" y="6627"/>
                  </a:lnTo>
                  <a:lnTo>
                    <a:pt x="7342" y="6625"/>
                  </a:lnTo>
                  <a:lnTo>
                    <a:pt x="7326" y="6622"/>
                  </a:lnTo>
                  <a:lnTo>
                    <a:pt x="7310" y="6619"/>
                  </a:lnTo>
                  <a:lnTo>
                    <a:pt x="7291" y="6616"/>
                  </a:lnTo>
                  <a:lnTo>
                    <a:pt x="7270" y="6614"/>
                  </a:lnTo>
                  <a:lnTo>
                    <a:pt x="7248" y="6610"/>
                  </a:lnTo>
                  <a:lnTo>
                    <a:pt x="7224" y="6609"/>
                  </a:lnTo>
                  <a:lnTo>
                    <a:pt x="7199" y="6607"/>
                  </a:lnTo>
                  <a:lnTo>
                    <a:pt x="7171" y="6606"/>
                  </a:lnTo>
                  <a:lnTo>
                    <a:pt x="7143" y="6606"/>
                  </a:lnTo>
                  <a:lnTo>
                    <a:pt x="7125" y="6606"/>
                  </a:lnTo>
                  <a:lnTo>
                    <a:pt x="7105" y="6606"/>
                  </a:lnTo>
                  <a:lnTo>
                    <a:pt x="7084" y="6606"/>
                  </a:lnTo>
                  <a:lnTo>
                    <a:pt x="7063" y="6606"/>
                  </a:lnTo>
                  <a:lnTo>
                    <a:pt x="7039" y="6607"/>
                  </a:lnTo>
                  <a:lnTo>
                    <a:pt x="7015" y="6607"/>
                  </a:lnTo>
                  <a:lnTo>
                    <a:pt x="6964" y="6610"/>
                  </a:lnTo>
                  <a:lnTo>
                    <a:pt x="6910" y="6614"/>
                  </a:lnTo>
                  <a:lnTo>
                    <a:pt x="6854" y="6619"/>
                  </a:lnTo>
                  <a:lnTo>
                    <a:pt x="6796" y="6627"/>
                  </a:lnTo>
                  <a:lnTo>
                    <a:pt x="6738" y="6637"/>
                  </a:lnTo>
                  <a:lnTo>
                    <a:pt x="6693" y="6648"/>
                  </a:lnTo>
                  <a:lnTo>
                    <a:pt x="6648" y="6660"/>
                  </a:lnTo>
                  <a:lnTo>
                    <a:pt x="6600" y="6675"/>
                  </a:lnTo>
                  <a:lnTo>
                    <a:pt x="6552" y="6692"/>
                  </a:lnTo>
                  <a:lnTo>
                    <a:pt x="6503" y="6711"/>
                  </a:lnTo>
                  <a:lnTo>
                    <a:pt x="6453" y="6733"/>
                  </a:lnTo>
                  <a:lnTo>
                    <a:pt x="6402" y="6756"/>
                  </a:lnTo>
                  <a:lnTo>
                    <a:pt x="6351" y="6779"/>
                  </a:lnTo>
                  <a:lnTo>
                    <a:pt x="6299" y="6805"/>
                  </a:lnTo>
                  <a:lnTo>
                    <a:pt x="6246" y="6832"/>
                  </a:lnTo>
                  <a:lnTo>
                    <a:pt x="6141" y="6889"/>
                  </a:lnTo>
                  <a:lnTo>
                    <a:pt x="6036" y="6947"/>
                  </a:lnTo>
                  <a:lnTo>
                    <a:pt x="5931" y="7007"/>
                  </a:lnTo>
                  <a:lnTo>
                    <a:pt x="5829" y="7067"/>
                  </a:lnTo>
                  <a:lnTo>
                    <a:pt x="5729" y="7124"/>
                  </a:lnTo>
                  <a:lnTo>
                    <a:pt x="5681" y="7152"/>
                  </a:lnTo>
                  <a:lnTo>
                    <a:pt x="5633" y="7179"/>
                  </a:lnTo>
                  <a:lnTo>
                    <a:pt x="5587" y="7205"/>
                  </a:lnTo>
                  <a:lnTo>
                    <a:pt x="5541" y="7228"/>
                  </a:lnTo>
                  <a:lnTo>
                    <a:pt x="5498" y="7251"/>
                  </a:lnTo>
                  <a:lnTo>
                    <a:pt x="5455" y="7273"/>
                  </a:lnTo>
                  <a:lnTo>
                    <a:pt x="5415" y="7292"/>
                  </a:lnTo>
                  <a:lnTo>
                    <a:pt x="5377" y="7309"/>
                  </a:lnTo>
                  <a:lnTo>
                    <a:pt x="5340" y="7324"/>
                  </a:lnTo>
                  <a:lnTo>
                    <a:pt x="5305" y="7337"/>
                  </a:lnTo>
                  <a:lnTo>
                    <a:pt x="5273" y="7347"/>
                  </a:lnTo>
                  <a:lnTo>
                    <a:pt x="5242" y="7354"/>
                  </a:lnTo>
                  <a:lnTo>
                    <a:pt x="5180" y="7354"/>
                  </a:lnTo>
                  <a:lnTo>
                    <a:pt x="5142" y="7352"/>
                  </a:lnTo>
                  <a:lnTo>
                    <a:pt x="5105" y="7349"/>
                  </a:lnTo>
                  <a:lnTo>
                    <a:pt x="5066" y="7343"/>
                  </a:lnTo>
                  <a:lnTo>
                    <a:pt x="5030" y="7334"/>
                  </a:lnTo>
                  <a:lnTo>
                    <a:pt x="4993" y="7323"/>
                  </a:lnTo>
                  <a:lnTo>
                    <a:pt x="4957" y="7311"/>
                  </a:lnTo>
                  <a:lnTo>
                    <a:pt x="4922" y="7296"/>
                  </a:lnTo>
                  <a:lnTo>
                    <a:pt x="4887" y="7281"/>
                  </a:lnTo>
                  <a:lnTo>
                    <a:pt x="4853" y="7264"/>
                  </a:lnTo>
                  <a:lnTo>
                    <a:pt x="4820" y="7245"/>
                  </a:lnTo>
                  <a:lnTo>
                    <a:pt x="4755" y="7206"/>
                  </a:lnTo>
                  <a:lnTo>
                    <a:pt x="4725" y="7185"/>
                  </a:lnTo>
                  <a:lnTo>
                    <a:pt x="4695" y="7164"/>
                  </a:lnTo>
                  <a:lnTo>
                    <a:pt x="4666" y="7142"/>
                  </a:lnTo>
                  <a:lnTo>
                    <a:pt x="4638" y="7120"/>
                  </a:lnTo>
                  <a:lnTo>
                    <a:pt x="4611" y="7099"/>
                  </a:lnTo>
                  <a:lnTo>
                    <a:pt x="4586" y="7076"/>
                  </a:lnTo>
                  <a:lnTo>
                    <a:pt x="4563" y="7055"/>
                  </a:lnTo>
                  <a:lnTo>
                    <a:pt x="4540" y="7034"/>
                  </a:lnTo>
                  <a:lnTo>
                    <a:pt x="4519" y="7014"/>
                  </a:lnTo>
                  <a:lnTo>
                    <a:pt x="4500" y="6995"/>
                  </a:lnTo>
                  <a:lnTo>
                    <a:pt x="4481" y="6976"/>
                  </a:lnTo>
                  <a:lnTo>
                    <a:pt x="4465" y="6960"/>
                  </a:lnTo>
                  <a:lnTo>
                    <a:pt x="4450" y="6943"/>
                  </a:lnTo>
                  <a:lnTo>
                    <a:pt x="4438" y="6930"/>
                  </a:lnTo>
                  <a:lnTo>
                    <a:pt x="4426" y="6917"/>
                  </a:lnTo>
                  <a:lnTo>
                    <a:pt x="4417" y="6906"/>
                  </a:lnTo>
                  <a:lnTo>
                    <a:pt x="4410" y="6898"/>
                  </a:lnTo>
                  <a:lnTo>
                    <a:pt x="4405" y="6892"/>
                  </a:lnTo>
                  <a:lnTo>
                    <a:pt x="4401" y="6888"/>
                  </a:lnTo>
                  <a:lnTo>
                    <a:pt x="4400" y="6887"/>
                  </a:lnTo>
                  <a:lnTo>
                    <a:pt x="5242" y="5142"/>
                  </a:lnTo>
                  <a:lnTo>
                    <a:pt x="4525" y="5983"/>
                  </a:lnTo>
                  <a:lnTo>
                    <a:pt x="4524" y="5981"/>
                  </a:lnTo>
                  <a:lnTo>
                    <a:pt x="4522" y="5977"/>
                  </a:lnTo>
                  <a:lnTo>
                    <a:pt x="4518" y="5970"/>
                  </a:lnTo>
                  <a:lnTo>
                    <a:pt x="4513" y="5959"/>
                  </a:lnTo>
                  <a:lnTo>
                    <a:pt x="4506" y="5946"/>
                  </a:lnTo>
                  <a:lnTo>
                    <a:pt x="4497" y="5931"/>
                  </a:lnTo>
                  <a:lnTo>
                    <a:pt x="4487" y="5911"/>
                  </a:lnTo>
                  <a:lnTo>
                    <a:pt x="4475" y="5889"/>
                  </a:lnTo>
                  <a:lnTo>
                    <a:pt x="4460" y="5865"/>
                  </a:lnTo>
                  <a:lnTo>
                    <a:pt x="4445" y="5837"/>
                  </a:lnTo>
                  <a:lnTo>
                    <a:pt x="4426" y="5806"/>
                  </a:lnTo>
                  <a:lnTo>
                    <a:pt x="4407" y="5772"/>
                  </a:lnTo>
                  <a:lnTo>
                    <a:pt x="4385" y="5736"/>
                  </a:lnTo>
                  <a:lnTo>
                    <a:pt x="4361" y="5697"/>
                  </a:lnTo>
                  <a:lnTo>
                    <a:pt x="4335" y="5654"/>
                  </a:lnTo>
                  <a:lnTo>
                    <a:pt x="4307" y="5608"/>
                  </a:lnTo>
                  <a:lnTo>
                    <a:pt x="4276" y="5562"/>
                  </a:lnTo>
                  <a:lnTo>
                    <a:pt x="4241" y="5517"/>
                  </a:lnTo>
                  <a:lnTo>
                    <a:pt x="4205" y="5471"/>
                  </a:lnTo>
                  <a:lnTo>
                    <a:pt x="4168" y="5426"/>
                  </a:lnTo>
                  <a:lnTo>
                    <a:pt x="4091" y="5336"/>
                  </a:lnTo>
                  <a:lnTo>
                    <a:pt x="4053" y="5292"/>
                  </a:lnTo>
                  <a:lnTo>
                    <a:pt x="4014" y="5247"/>
                  </a:lnTo>
                  <a:lnTo>
                    <a:pt x="3979" y="5201"/>
                  </a:lnTo>
                  <a:lnTo>
                    <a:pt x="3946" y="5155"/>
                  </a:lnTo>
                  <a:lnTo>
                    <a:pt x="3916" y="5109"/>
                  </a:lnTo>
                  <a:lnTo>
                    <a:pt x="3903" y="5085"/>
                  </a:lnTo>
                  <a:lnTo>
                    <a:pt x="3890" y="5061"/>
                  </a:lnTo>
                  <a:lnTo>
                    <a:pt x="3879" y="5037"/>
                  </a:lnTo>
                  <a:lnTo>
                    <a:pt x="3870" y="5013"/>
                  </a:lnTo>
                  <a:lnTo>
                    <a:pt x="3861" y="4988"/>
                  </a:lnTo>
                  <a:lnTo>
                    <a:pt x="3853" y="4963"/>
                  </a:lnTo>
                  <a:lnTo>
                    <a:pt x="3847" y="4938"/>
                  </a:lnTo>
                  <a:lnTo>
                    <a:pt x="3843" y="4913"/>
                  </a:lnTo>
                  <a:lnTo>
                    <a:pt x="3841" y="4887"/>
                  </a:lnTo>
                  <a:lnTo>
                    <a:pt x="3840" y="4860"/>
                  </a:lnTo>
                  <a:lnTo>
                    <a:pt x="3841" y="4833"/>
                  </a:lnTo>
                  <a:lnTo>
                    <a:pt x="3846" y="4803"/>
                  </a:lnTo>
                  <a:lnTo>
                    <a:pt x="3853" y="4770"/>
                  </a:lnTo>
                  <a:lnTo>
                    <a:pt x="3864" y="4734"/>
                  </a:lnTo>
                  <a:lnTo>
                    <a:pt x="3877" y="4696"/>
                  </a:lnTo>
                  <a:lnTo>
                    <a:pt x="3893" y="4655"/>
                  </a:lnTo>
                  <a:lnTo>
                    <a:pt x="3910" y="4612"/>
                  </a:lnTo>
                  <a:lnTo>
                    <a:pt x="3931" y="4568"/>
                  </a:lnTo>
                  <a:lnTo>
                    <a:pt x="3954" y="4522"/>
                  </a:lnTo>
                  <a:lnTo>
                    <a:pt x="3979" y="4473"/>
                  </a:lnTo>
                  <a:lnTo>
                    <a:pt x="4007" y="4423"/>
                  </a:lnTo>
                  <a:lnTo>
                    <a:pt x="4037" y="4371"/>
                  </a:lnTo>
                  <a:lnTo>
                    <a:pt x="4068" y="4319"/>
                  </a:lnTo>
                  <a:lnTo>
                    <a:pt x="4102" y="4264"/>
                  </a:lnTo>
                  <a:lnTo>
                    <a:pt x="4137" y="4208"/>
                  </a:lnTo>
                  <a:lnTo>
                    <a:pt x="4174" y="4152"/>
                  </a:lnTo>
                  <a:lnTo>
                    <a:pt x="4214" y="4094"/>
                  </a:lnTo>
                  <a:lnTo>
                    <a:pt x="4254" y="4036"/>
                  </a:lnTo>
                  <a:lnTo>
                    <a:pt x="4295" y="3978"/>
                  </a:lnTo>
                  <a:lnTo>
                    <a:pt x="4339" y="3918"/>
                  </a:lnTo>
                  <a:lnTo>
                    <a:pt x="4383" y="3858"/>
                  </a:lnTo>
                  <a:lnTo>
                    <a:pt x="4428" y="3798"/>
                  </a:lnTo>
                  <a:lnTo>
                    <a:pt x="4476" y="3738"/>
                  </a:lnTo>
                  <a:lnTo>
                    <a:pt x="4523" y="3678"/>
                  </a:lnTo>
                  <a:lnTo>
                    <a:pt x="4621" y="3557"/>
                  </a:lnTo>
                  <a:lnTo>
                    <a:pt x="4723" y="3439"/>
                  </a:lnTo>
                  <a:lnTo>
                    <a:pt x="4826" y="3323"/>
                  </a:lnTo>
                  <a:lnTo>
                    <a:pt x="4877" y="3265"/>
                  </a:lnTo>
                  <a:lnTo>
                    <a:pt x="4930" y="3209"/>
                  </a:lnTo>
                  <a:lnTo>
                    <a:pt x="5030" y="3097"/>
                  </a:lnTo>
                  <a:lnTo>
                    <a:pt x="5129" y="2984"/>
                  </a:lnTo>
                  <a:lnTo>
                    <a:pt x="5229" y="2870"/>
                  </a:lnTo>
                  <a:lnTo>
                    <a:pt x="5329" y="2758"/>
                  </a:lnTo>
                  <a:lnTo>
                    <a:pt x="5426" y="2648"/>
                  </a:lnTo>
                  <a:lnTo>
                    <a:pt x="5522" y="2541"/>
                  </a:lnTo>
                  <a:lnTo>
                    <a:pt x="5568" y="2489"/>
                  </a:lnTo>
                  <a:lnTo>
                    <a:pt x="5614" y="2438"/>
                  </a:lnTo>
                  <a:lnTo>
                    <a:pt x="5661" y="2388"/>
                  </a:lnTo>
                  <a:lnTo>
                    <a:pt x="5705" y="2340"/>
                  </a:lnTo>
                  <a:lnTo>
                    <a:pt x="5750" y="2294"/>
                  </a:lnTo>
                  <a:lnTo>
                    <a:pt x="5793" y="2248"/>
                  </a:lnTo>
                  <a:lnTo>
                    <a:pt x="5835" y="2205"/>
                  </a:lnTo>
                  <a:lnTo>
                    <a:pt x="5877" y="2164"/>
                  </a:lnTo>
                  <a:lnTo>
                    <a:pt x="5917" y="2125"/>
                  </a:lnTo>
                  <a:lnTo>
                    <a:pt x="5956" y="2089"/>
                  </a:lnTo>
                  <a:lnTo>
                    <a:pt x="5993" y="2054"/>
                  </a:lnTo>
                  <a:lnTo>
                    <a:pt x="6030" y="2022"/>
                  </a:lnTo>
                  <a:lnTo>
                    <a:pt x="6066" y="1992"/>
                  </a:lnTo>
                  <a:lnTo>
                    <a:pt x="6100" y="1965"/>
                  </a:lnTo>
                  <a:lnTo>
                    <a:pt x="6132" y="1941"/>
                  </a:lnTo>
                  <a:lnTo>
                    <a:pt x="6163" y="1920"/>
                  </a:lnTo>
                  <a:lnTo>
                    <a:pt x="6193" y="1902"/>
                  </a:lnTo>
                  <a:lnTo>
                    <a:pt x="6220" y="1888"/>
                  </a:lnTo>
                  <a:lnTo>
                    <a:pt x="6246" y="1876"/>
                  </a:lnTo>
                  <a:lnTo>
                    <a:pt x="6270" y="1869"/>
                  </a:lnTo>
                  <a:lnTo>
                    <a:pt x="6863" y="1775"/>
                  </a:lnTo>
                  <a:lnTo>
                    <a:pt x="6919" y="1767"/>
                  </a:lnTo>
                  <a:lnTo>
                    <a:pt x="6975" y="1758"/>
                  </a:lnTo>
                  <a:lnTo>
                    <a:pt x="7029" y="1749"/>
                  </a:lnTo>
                  <a:lnTo>
                    <a:pt x="7080" y="1739"/>
                  </a:lnTo>
                  <a:lnTo>
                    <a:pt x="7130" y="1730"/>
                  </a:lnTo>
                  <a:lnTo>
                    <a:pt x="7177" y="1721"/>
                  </a:lnTo>
                  <a:lnTo>
                    <a:pt x="7223" y="1712"/>
                  </a:lnTo>
                  <a:lnTo>
                    <a:pt x="7266" y="1702"/>
                  </a:lnTo>
                  <a:lnTo>
                    <a:pt x="7309" y="1693"/>
                  </a:lnTo>
                  <a:lnTo>
                    <a:pt x="7348" y="1684"/>
                  </a:lnTo>
                  <a:lnTo>
                    <a:pt x="7386" y="1674"/>
                  </a:lnTo>
                  <a:lnTo>
                    <a:pt x="7422" y="1665"/>
                  </a:lnTo>
                  <a:lnTo>
                    <a:pt x="7456" y="1657"/>
                  </a:lnTo>
                  <a:lnTo>
                    <a:pt x="7489" y="1648"/>
                  </a:lnTo>
                  <a:lnTo>
                    <a:pt x="7519" y="1639"/>
                  </a:lnTo>
                  <a:lnTo>
                    <a:pt x="7548" y="1631"/>
                  </a:lnTo>
                  <a:lnTo>
                    <a:pt x="7575" y="1623"/>
                  </a:lnTo>
                  <a:lnTo>
                    <a:pt x="7600" y="1616"/>
                  </a:lnTo>
                  <a:lnTo>
                    <a:pt x="7623" y="1609"/>
                  </a:lnTo>
                  <a:lnTo>
                    <a:pt x="7645" y="1601"/>
                  </a:lnTo>
                  <a:lnTo>
                    <a:pt x="7665" y="1595"/>
                  </a:lnTo>
                  <a:lnTo>
                    <a:pt x="7682" y="1589"/>
                  </a:lnTo>
                  <a:lnTo>
                    <a:pt x="7698" y="1584"/>
                  </a:lnTo>
                  <a:lnTo>
                    <a:pt x="7712" y="1579"/>
                  </a:lnTo>
                  <a:lnTo>
                    <a:pt x="7726" y="1574"/>
                  </a:lnTo>
                  <a:lnTo>
                    <a:pt x="7736" y="1569"/>
                  </a:lnTo>
                  <a:lnTo>
                    <a:pt x="7745" y="1566"/>
                  </a:lnTo>
                  <a:lnTo>
                    <a:pt x="7752" y="1563"/>
                  </a:lnTo>
                  <a:lnTo>
                    <a:pt x="7759" y="1560"/>
                  </a:lnTo>
                  <a:lnTo>
                    <a:pt x="7763" y="1559"/>
                  </a:lnTo>
                  <a:lnTo>
                    <a:pt x="7765" y="1558"/>
                  </a:lnTo>
                  <a:lnTo>
                    <a:pt x="7766" y="1557"/>
                  </a:lnTo>
                  <a:lnTo>
                    <a:pt x="6769" y="1589"/>
                  </a:lnTo>
                  <a:lnTo>
                    <a:pt x="6771" y="1588"/>
                  </a:lnTo>
                  <a:lnTo>
                    <a:pt x="6774" y="1585"/>
                  </a:lnTo>
                  <a:lnTo>
                    <a:pt x="6777" y="1581"/>
                  </a:lnTo>
                  <a:lnTo>
                    <a:pt x="6781" y="1575"/>
                  </a:lnTo>
                  <a:lnTo>
                    <a:pt x="6786" y="1567"/>
                  </a:lnTo>
                  <a:lnTo>
                    <a:pt x="6792" y="1558"/>
                  </a:lnTo>
                  <a:lnTo>
                    <a:pt x="6800" y="1548"/>
                  </a:lnTo>
                  <a:lnTo>
                    <a:pt x="6807" y="1535"/>
                  </a:lnTo>
                  <a:lnTo>
                    <a:pt x="6816" y="1522"/>
                  </a:lnTo>
                  <a:lnTo>
                    <a:pt x="6825" y="1507"/>
                  </a:lnTo>
                  <a:lnTo>
                    <a:pt x="6836" y="1491"/>
                  </a:lnTo>
                  <a:lnTo>
                    <a:pt x="6847" y="1474"/>
                  </a:lnTo>
                  <a:lnTo>
                    <a:pt x="6860" y="1455"/>
                  </a:lnTo>
                  <a:lnTo>
                    <a:pt x="6874" y="1436"/>
                  </a:lnTo>
                  <a:lnTo>
                    <a:pt x="6888" y="1415"/>
                  </a:lnTo>
                  <a:lnTo>
                    <a:pt x="6904" y="1394"/>
                  </a:lnTo>
                  <a:lnTo>
                    <a:pt x="6920" y="1372"/>
                  </a:lnTo>
                  <a:lnTo>
                    <a:pt x="6938" y="1348"/>
                  </a:lnTo>
                  <a:lnTo>
                    <a:pt x="6958" y="1324"/>
                  </a:lnTo>
                  <a:lnTo>
                    <a:pt x="6977" y="1300"/>
                  </a:lnTo>
                  <a:lnTo>
                    <a:pt x="6999" y="1274"/>
                  </a:lnTo>
                  <a:lnTo>
                    <a:pt x="7020" y="1248"/>
                  </a:lnTo>
                  <a:lnTo>
                    <a:pt x="7044" y="1221"/>
                  </a:lnTo>
                  <a:lnTo>
                    <a:pt x="7069" y="1194"/>
                  </a:lnTo>
                  <a:lnTo>
                    <a:pt x="7095" y="1167"/>
                  </a:lnTo>
                  <a:lnTo>
                    <a:pt x="7122" y="1139"/>
                  </a:lnTo>
                  <a:lnTo>
                    <a:pt x="7150" y="1110"/>
                  </a:lnTo>
                  <a:lnTo>
                    <a:pt x="7179" y="1081"/>
                  </a:lnTo>
                  <a:lnTo>
                    <a:pt x="7210" y="1052"/>
                  </a:lnTo>
                  <a:lnTo>
                    <a:pt x="7242" y="1023"/>
                  </a:lnTo>
                  <a:lnTo>
                    <a:pt x="7275" y="995"/>
                  </a:lnTo>
                  <a:lnTo>
                    <a:pt x="7311" y="966"/>
                  </a:lnTo>
                  <a:lnTo>
                    <a:pt x="7347" y="936"/>
                  </a:lnTo>
                  <a:lnTo>
                    <a:pt x="7384" y="907"/>
                  </a:lnTo>
                  <a:lnTo>
                    <a:pt x="7423" y="878"/>
                  </a:lnTo>
                  <a:lnTo>
                    <a:pt x="7463" y="849"/>
                  </a:lnTo>
                  <a:lnTo>
                    <a:pt x="7505" y="821"/>
                  </a:lnTo>
                  <a:lnTo>
                    <a:pt x="7548" y="792"/>
                  </a:lnTo>
                  <a:lnTo>
                    <a:pt x="7592" y="764"/>
                  </a:lnTo>
                  <a:lnTo>
                    <a:pt x="7639" y="736"/>
                  </a:lnTo>
                  <a:lnTo>
                    <a:pt x="7686" y="709"/>
                  </a:lnTo>
                  <a:lnTo>
                    <a:pt x="7735" y="683"/>
                  </a:lnTo>
                  <a:lnTo>
                    <a:pt x="7785" y="657"/>
                  </a:lnTo>
                  <a:lnTo>
                    <a:pt x="7838" y="631"/>
                  </a:lnTo>
                  <a:lnTo>
                    <a:pt x="7892" y="606"/>
                  </a:lnTo>
                  <a:lnTo>
                    <a:pt x="7946" y="583"/>
                  </a:lnTo>
                  <a:lnTo>
                    <a:pt x="8003" y="559"/>
                  </a:lnTo>
                  <a:lnTo>
                    <a:pt x="8062" y="536"/>
                  </a:lnTo>
                  <a:lnTo>
                    <a:pt x="8122" y="516"/>
                  </a:lnTo>
                  <a:lnTo>
                    <a:pt x="8184" y="495"/>
                  </a:lnTo>
                  <a:lnTo>
                    <a:pt x="8247" y="476"/>
                  </a:lnTo>
                  <a:lnTo>
                    <a:pt x="8312" y="457"/>
                  </a:lnTo>
                  <a:lnTo>
                    <a:pt x="8379" y="439"/>
                  </a:lnTo>
                  <a:lnTo>
                    <a:pt x="8447" y="424"/>
                  </a:lnTo>
                  <a:lnTo>
                    <a:pt x="8517" y="409"/>
                  </a:lnTo>
                  <a:lnTo>
                    <a:pt x="8590" y="395"/>
                  </a:lnTo>
                  <a:lnTo>
                    <a:pt x="8663" y="384"/>
                  </a:lnTo>
                  <a:lnTo>
                    <a:pt x="8739" y="373"/>
                  </a:lnTo>
                  <a:lnTo>
                    <a:pt x="8817" y="363"/>
                  </a:lnTo>
                  <a:lnTo>
                    <a:pt x="8895" y="356"/>
                  </a:lnTo>
                  <a:lnTo>
                    <a:pt x="8977" y="350"/>
                  </a:lnTo>
                  <a:lnTo>
                    <a:pt x="9059" y="346"/>
                  </a:lnTo>
                  <a:lnTo>
                    <a:pt x="9144" y="343"/>
                  </a:lnTo>
                  <a:lnTo>
                    <a:pt x="9231" y="342"/>
                  </a:lnTo>
                  <a:lnTo>
                    <a:pt x="9231" y="342"/>
                  </a:lnTo>
                  <a:close/>
                  <a:moveTo>
                    <a:pt x="13524" y="1924"/>
                  </a:moveTo>
                  <a:lnTo>
                    <a:pt x="13549" y="1924"/>
                  </a:lnTo>
                  <a:lnTo>
                    <a:pt x="13574" y="1921"/>
                  </a:lnTo>
                  <a:lnTo>
                    <a:pt x="13600" y="1918"/>
                  </a:lnTo>
                  <a:lnTo>
                    <a:pt x="13628" y="1912"/>
                  </a:lnTo>
                  <a:lnTo>
                    <a:pt x="13657" y="1905"/>
                  </a:lnTo>
                  <a:lnTo>
                    <a:pt x="13688" y="1896"/>
                  </a:lnTo>
                  <a:lnTo>
                    <a:pt x="13719" y="1886"/>
                  </a:lnTo>
                  <a:lnTo>
                    <a:pt x="13750" y="1873"/>
                  </a:lnTo>
                  <a:lnTo>
                    <a:pt x="13783" y="1860"/>
                  </a:lnTo>
                  <a:lnTo>
                    <a:pt x="13816" y="1843"/>
                  </a:lnTo>
                  <a:lnTo>
                    <a:pt x="13849" y="1826"/>
                  </a:lnTo>
                  <a:lnTo>
                    <a:pt x="13883" y="1806"/>
                  </a:lnTo>
                  <a:lnTo>
                    <a:pt x="13918" y="1785"/>
                  </a:lnTo>
                  <a:lnTo>
                    <a:pt x="13954" y="1760"/>
                  </a:lnTo>
                  <a:lnTo>
                    <a:pt x="13988" y="1734"/>
                  </a:lnTo>
                  <a:lnTo>
                    <a:pt x="14023" y="1706"/>
                  </a:lnTo>
                  <a:lnTo>
                    <a:pt x="14046" y="1688"/>
                  </a:lnTo>
                  <a:lnTo>
                    <a:pt x="14069" y="1669"/>
                  </a:lnTo>
                  <a:lnTo>
                    <a:pt x="14114" y="1628"/>
                  </a:lnTo>
                  <a:lnTo>
                    <a:pt x="14156" y="1585"/>
                  </a:lnTo>
                  <a:lnTo>
                    <a:pt x="14195" y="1539"/>
                  </a:lnTo>
                  <a:lnTo>
                    <a:pt x="14233" y="1490"/>
                  </a:lnTo>
                  <a:lnTo>
                    <a:pt x="14267" y="1442"/>
                  </a:lnTo>
                  <a:lnTo>
                    <a:pt x="14299" y="1392"/>
                  </a:lnTo>
                  <a:lnTo>
                    <a:pt x="14327" y="1344"/>
                  </a:lnTo>
                  <a:lnTo>
                    <a:pt x="14351" y="1296"/>
                  </a:lnTo>
                  <a:lnTo>
                    <a:pt x="14362" y="1273"/>
                  </a:lnTo>
                  <a:lnTo>
                    <a:pt x="14372" y="1250"/>
                  </a:lnTo>
                  <a:lnTo>
                    <a:pt x="14381" y="1228"/>
                  </a:lnTo>
                  <a:lnTo>
                    <a:pt x="14388" y="1207"/>
                  </a:lnTo>
                  <a:lnTo>
                    <a:pt x="14394" y="1187"/>
                  </a:lnTo>
                  <a:lnTo>
                    <a:pt x="14401" y="1167"/>
                  </a:lnTo>
                  <a:lnTo>
                    <a:pt x="14405" y="1148"/>
                  </a:lnTo>
                  <a:lnTo>
                    <a:pt x="14407" y="1131"/>
                  </a:lnTo>
                  <a:lnTo>
                    <a:pt x="14409" y="1114"/>
                  </a:lnTo>
                  <a:lnTo>
                    <a:pt x="14409" y="1099"/>
                  </a:lnTo>
                  <a:lnTo>
                    <a:pt x="14409" y="1085"/>
                  </a:lnTo>
                  <a:lnTo>
                    <a:pt x="14406" y="1072"/>
                  </a:lnTo>
                  <a:lnTo>
                    <a:pt x="14403" y="1062"/>
                  </a:lnTo>
                  <a:lnTo>
                    <a:pt x="14397" y="1051"/>
                  </a:lnTo>
                  <a:lnTo>
                    <a:pt x="14397" y="1050"/>
                  </a:lnTo>
                  <a:lnTo>
                    <a:pt x="14396" y="1047"/>
                  </a:lnTo>
                  <a:lnTo>
                    <a:pt x="14395" y="1042"/>
                  </a:lnTo>
                  <a:lnTo>
                    <a:pt x="14393" y="1036"/>
                  </a:lnTo>
                  <a:lnTo>
                    <a:pt x="14389" y="1031"/>
                  </a:lnTo>
                  <a:lnTo>
                    <a:pt x="14384" y="1026"/>
                  </a:lnTo>
                  <a:lnTo>
                    <a:pt x="14377" y="1022"/>
                  </a:lnTo>
                  <a:lnTo>
                    <a:pt x="14366" y="1020"/>
                  </a:lnTo>
                  <a:lnTo>
                    <a:pt x="14357" y="1021"/>
                  </a:lnTo>
                  <a:lnTo>
                    <a:pt x="14348" y="1025"/>
                  </a:lnTo>
                  <a:lnTo>
                    <a:pt x="14339" y="1030"/>
                  </a:lnTo>
                  <a:lnTo>
                    <a:pt x="14328" y="1036"/>
                  </a:lnTo>
                  <a:lnTo>
                    <a:pt x="14318" y="1044"/>
                  </a:lnTo>
                  <a:lnTo>
                    <a:pt x="14307" y="1053"/>
                  </a:lnTo>
                  <a:lnTo>
                    <a:pt x="14296" y="1065"/>
                  </a:lnTo>
                  <a:lnTo>
                    <a:pt x="14285" y="1077"/>
                  </a:lnTo>
                  <a:lnTo>
                    <a:pt x="14273" y="1090"/>
                  </a:lnTo>
                  <a:lnTo>
                    <a:pt x="14260" y="1105"/>
                  </a:lnTo>
                  <a:lnTo>
                    <a:pt x="14248" y="1120"/>
                  </a:lnTo>
                  <a:lnTo>
                    <a:pt x="14234" y="1137"/>
                  </a:lnTo>
                  <a:lnTo>
                    <a:pt x="14208" y="1173"/>
                  </a:lnTo>
                  <a:lnTo>
                    <a:pt x="14180" y="1211"/>
                  </a:lnTo>
                  <a:lnTo>
                    <a:pt x="14150" y="1252"/>
                  </a:lnTo>
                  <a:lnTo>
                    <a:pt x="14118" y="1293"/>
                  </a:lnTo>
                  <a:lnTo>
                    <a:pt x="14085" y="1335"/>
                  </a:lnTo>
                  <a:lnTo>
                    <a:pt x="14051" y="1376"/>
                  </a:lnTo>
                  <a:lnTo>
                    <a:pt x="14014" y="1415"/>
                  </a:lnTo>
                  <a:lnTo>
                    <a:pt x="13977" y="1453"/>
                  </a:lnTo>
                  <a:lnTo>
                    <a:pt x="13939" y="1488"/>
                  </a:lnTo>
                  <a:lnTo>
                    <a:pt x="13918" y="1505"/>
                  </a:lnTo>
                  <a:lnTo>
                    <a:pt x="13899" y="1519"/>
                  </a:lnTo>
                  <a:lnTo>
                    <a:pt x="13863" y="1548"/>
                  </a:lnTo>
                  <a:lnTo>
                    <a:pt x="13823" y="1575"/>
                  </a:lnTo>
                  <a:lnTo>
                    <a:pt x="13783" y="1600"/>
                  </a:lnTo>
                  <a:lnTo>
                    <a:pt x="13742" y="1624"/>
                  </a:lnTo>
                  <a:lnTo>
                    <a:pt x="13701" y="1646"/>
                  </a:lnTo>
                  <a:lnTo>
                    <a:pt x="13658" y="1666"/>
                  </a:lnTo>
                  <a:lnTo>
                    <a:pt x="13618" y="1685"/>
                  </a:lnTo>
                  <a:lnTo>
                    <a:pt x="13579" y="1702"/>
                  </a:lnTo>
                  <a:lnTo>
                    <a:pt x="13543" y="1718"/>
                  </a:lnTo>
                  <a:lnTo>
                    <a:pt x="13509" y="1731"/>
                  </a:lnTo>
                  <a:lnTo>
                    <a:pt x="13478" y="1742"/>
                  </a:lnTo>
                  <a:lnTo>
                    <a:pt x="13464" y="1747"/>
                  </a:lnTo>
                  <a:lnTo>
                    <a:pt x="13452" y="1752"/>
                  </a:lnTo>
                  <a:lnTo>
                    <a:pt x="13440" y="1756"/>
                  </a:lnTo>
                  <a:lnTo>
                    <a:pt x="13430" y="1759"/>
                  </a:lnTo>
                  <a:lnTo>
                    <a:pt x="13421" y="1762"/>
                  </a:lnTo>
                  <a:lnTo>
                    <a:pt x="13414" y="1764"/>
                  </a:lnTo>
                  <a:lnTo>
                    <a:pt x="13407" y="1766"/>
                  </a:lnTo>
                  <a:lnTo>
                    <a:pt x="13403" y="1767"/>
                  </a:lnTo>
                  <a:lnTo>
                    <a:pt x="13401" y="1768"/>
                  </a:lnTo>
                  <a:lnTo>
                    <a:pt x="13400" y="1768"/>
                  </a:lnTo>
                  <a:lnTo>
                    <a:pt x="13399" y="1768"/>
                  </a:lnTo>
                  <a:lnTo>
                    <a:pt x="13397" y="1768"/>
                  </a:lnTo>
                  <a:lnTo>
                    <a:pt x="13391" y="1770"/>
                  </a:lnTo>
                  <a:lnTo>
                    <a:pt x="13382" y="1773"/>
                  </a:lnTo>
                  <a:lnTo>
                    <a:pt x="13378" y="1776"/>
                  </a:lnTo>
                  <a:lnTo>
                    <a:pt x="13372" y="1781"/>
                  </a:lnTo>
                  <a:lnTo>
                    <a:pt x="13368" y="1785"/>
                  </a:lnTo>
                  <a:lnTo>
                    <a:pt x="13365" y="1791"/>
                  </a:lnTo>
                  <a:lnTo>
                    <a:pt x="13362" y="1799"/>
                  </a:lnTo>
                  <a:lnTo>
                    <a:pt x="13361" y="1808"/>
                  </a:lnTo>
                  <a:lnTo>
                    <a:pt x="13360" y="1819"/>
                  </a:lnTo>
                  <a:lnTo>
                    <a:pt x="13361" y="1831"/>
                  </a:lnTo>
                  <a:lnTo>
                    <a:pt x="13364" y="1845"/>
                  </a:lnTo>
                  <a:lnTo>
                    <a:pt x="13369" y="1862"/>
                  </a:lnTo>
                  <a:lnTo>
                    <a:pt x="13381" y="1873"/>
                  </a:lnTo>
                  <a:lnTo>
                    <a:pt x="13393" y="1885"/>
                  </a:lnTo>
                  <a:lnTo>
                    <a:pt x="13407" y="1895"/>
                  </a:lnTo>
                  <a:lnTo>
                    <a:pt x="13423" y="1905"/>
                  </a:lnTo>
                  <a:lnTo>
                    <a:pt x="13443" y="1912"/>
                  </a:lnTo>
                  <a:lnTo>
                    <a:pt x="13453" y="1916"/>
                  </a:lnTo>
                  <a:lnTo>
                    <a:pt x="13465" y="1919"/>
                  </a:lnTo>
                  <a:lnTo>
                    <a:pt x="13478" y="1921"/>
                  </a:lnTo>
                  <a:lnTo>
                    <a:pt x="13492" y="1923"/>
                  </a:lnTo>
                  <a:lnTo>
                    <a:pt x="13508" y="1924"/>
                  </a:lnTo>
                  <a:lnTo>
                    <a:pt x="13524" y="1924"/>
                  </a:lnTo>
                  <a:lnTo>
                    <a:pt x="13524" y="1924"/>
                  </a:lnTo>
                  <a:close/>
                  <a:moveTo>
                    <a:pt x="8857" y="3146"/>
                  </a:moveTo>
                  <a:lnTo>
                    <a:pt x="8858" y="3145"/>
                  </a:lnTo>
                  <a:lnTo>
                    <a:pt x="8860" y="3140"/>
                  </a:lnTo>
                  <a:lnTo>
                    <a:pt x="8864" y="3133"/>
                  </a:lnTo>
                  <a:lnTo>
                    <a:pt x="8869" y="3123"/>
                  </a:lnTo>
                  <a:lnTo>
                    <a:pt x="8877" y="3109"/>
                  </a:lnTo>
                  <a:lnTo>
                    <a:pt x="8885" y="3094"/>
                  </a:lnTo>
                  <a:lnTo>
                    <a:pt x="8893" y="3076"/>
                  </a:lnTo>
                  <a:lnTo>
                    <a:pt x="8904" y="3057"/>
                  </a:lnTo>
                  <a:lnTo>
                    <a:pt x="8916" y="3035"/>
                  </a:lnTo>
                  <a:lnTo>
                    <a:pt x="8928" y="3011"/>
                  </a:lnTo>
                  <a:lnTo>
                    <a:pt x="8942" y="2987"/>
                  </a:lnTo>
                  <a:lnTo>
                    <a:pt x="8956" y="2961"/>
                  </a:lnTo>
                  <a:lnTo>
                    <a:pt x="8971" y="2934"/>
                  </a:lnTo>
                  <a:lnTo>
                    <a:pt x="8987" y="2905"/>
                  </a:lnTo>
                  <a:lnTo>
                    <a:pt x="9021" y="2847"/>
                  </a:lnTo>
                  <a:lnTo>
                    <a:pt x="9057" y="2786"/>
                  </a:lnTo>
                  <a:lnTo>
                    <a:pt x="9094" y="2725"/>
                  </a:lnTo>
                  <a:lnTo>
                    <a:pt x="9134" y="2665"/>
                  </a:lnTo>
                  <a:lnTo>
                    <a:pt x="9173" y="2608"/>
                  </a:lnTo>
                  <a:lnTo>
                    <a:pt x="9192" y="2580"/>
                  </a:lnTo>
                  <a:lnTo>
                    <a:pt x="9212" y="2554"/>
                  </a:lnTo>
                  <a:lnTo>
                    <a:pt x="9232" y="2529"/>
                  </a:lnTo>
                  <a:lnTo>
                    <a:pt x="9250" y="2506"/>
                  </a:lnTo>
                  <a:lnTo>
                    <a:pt x="9270" y="2483"/>
                  </a:lnTo>
                  <a:lnTo>
                    <a:pt x="9288" y="2464"/>
                  </a:lnTo>
                  <a:lnTo>
                    <a:pt x="9307" y="2446"/>
                  </a:lnTo>
                  <a:lnTo>
                    <a:pt x="9325" y="2430"/>
                  </a:lnTo>
                  <a:lnTo>
                    <a:pt x="9345" y="2413"/>
                  </a:lnTo>
                  <a:lnTo>
                    <a:pt x="9367" y="2397"/>
                  </a:lnTo>
                  <a:lnTo>
                    <a:pt x="9412" y="2368"/>
                  </a:lnTo>
                  <a:lnTo>
                    <a:pt x="9460" y="2343"/>
                  </a:lnTo>
                  <a:lnTo>
                    <a:pt x="9509" y="2321"/>
                  </a:lnTo>
                  <a:lnTo>
                    <a:pt x="9559" y="2304"/>
                  </a:lnTo>
                  <a:lnTo>
                    <a:pt x="9607" y="2288"/>
                  </a:lnTo>
                  <a:lnTo>
                    <a:pt x="9656" y="2276"/>
                  </a:lnTo>
                  <a:lnTo>
                    <a:pt x="9702" y="2266"/>
                  </a:lnTo>
                  <a:lnTo>
                    <a:pt x="9747" y="2259"/>
                  </a:lnTo>
                  <a:lnTo>
                    <a:pt x="9787" y="2252"/>
                  </a:lnTo>
                  <a:lnTo>
                    <a:pt x="9806" y="2250"/>
                  </a:lnTo>
                  <a:lnTo>
                    <a:pt x="9823" y="2248"/>
                  </a:lnTo>
                  <a:lnTo>
                    <a:pt x="9840" y="2247"/>
                  </a:lnTo>
                  <a:lnTo>
                    <a:pt x="9855" y="2246"/>
                  </a:lnTo>
                  <a:lnTo>
                    <a:pt x="9869" y="2245"/>
                  </a:lnTo>
                  <a:lnTo>
                    <a:pt x="9881" y="2244"/>
                  </a:lnTo>
                  <a:lnTo>
                    <a:pt x="9891" y="2243"/>
                  </a:lnTo>
                  <a:lnTo>
                    <a:pt x="9901" y="2243"/>
                  </a:lnTo>
                  <a:lnTo>
                    <a:pt x="9908" y="2243"/>
                  </a:lnTo>
                  <a:lnTo>
                    <a:pt x="9913" y="2243"/>
                  </a:lnTo>
                  <a:lnTo>
                    <a:pt x="9916" y="2243"/>
                  </a:lnTo>
                  <a:lnTo>
                    <a:pt x="9917" y="2243"/>
                  </a:lnTo>
                  <a:lnTo>
                    <a:pt x="9916" y="2243"/>
                  </a:lnTo>
                  <a:lnTo>
                    <a:pt x="9913" y="2242"/>
                  </a:lnTo>
                  <a:lnTo>
                    <a:pt x="9909" y="2241"/>
                  </a:lnTo>
                  <a:lnTo>
                    <a:pt x="9903" y="2239"/>
                  </a:lnTo>
                  <a:lnTo>
                    <a:pt x="9895" y="2237"/>
                  </a:lnTo>
                  <a:lnTo>
                    <a:pt x="9886" y="2234"/>
                  </a:lnTo>
                  <a:lnTo>
                    <a:pt x="9876" y="2232"/>
                  </a:lnTo>
                  <a:lnTo>
                    <a:pt x="9865" y="2229"/>
                  </a:lnTo>
                  <a:lnTo>
                    <a:pt x="9851" y="2225"/>
                  </a:lnTo>
                  <a:lnTo>
                    <a:pt x="9837" y="2221"/>
                  </a:lnTo>
                  <a:lnTo>
                    <a:pt x="9821" y="2217"/>
                  </a:lnTo>
                  <a:lnTo>
                    <a:pt x="9805" y="2213"/>
                  </a:lnTo>
                  <a:lnTo>
                    <a:pt x="9770" y="2205"/>
                  </a:lnTo>
                  <a:lnTo>
                    <a:pt x="9730" y="2197"/>
                  </a:lnTo>
                  <a:lnTo>
                    <a:pt x="9688" y="2187"/>
                  </a:lnTo>
                  <a:lnTo>
                    <a:pt x="9643" y="2179"/>
                  </a:lnTo>
                  <a:lnTo>
                    <a:pt x="9596" y="2171"/>
                  </a:lnTo>
                  <a:lnTo>
                    <a:pt x="9549" y="2164"/>
                  </a:lnTo>
                  <a:lnTo>
                    <a:pt x="9500" y="2159"/>
                  </a:lnTo>
                  <a:lnTo>
                    <a:pt x="9452" y="2153"/>
                  </a:lnTo>
                  <a:lnTo>
                    <a:pt x="9403" y="2150"/>
                  </a:lnTo>
                  <a:lnTo>
                    <a:pt x="9356" y="2149"/>
                  </a:lnTo>
                  <a:lnTo>
                    <a:pt x="9320" y="2149"/>
                  </a:lnTo>
                  <a:lnTo>
                    <a:pt x="9286" y="2150"/>
                  </a:lnTo>
                  <a:lnTo>
                    <a:pt x="9252" y="2152"/>
                  </a:lnTo>
                  <a:lnTo>
                    <a:pt x="9219" y="2158"/>
                  </a:lnTo>
                  <a:lnTo>
                    <a:pt x="9188" y="2165"/>
                  </a:lnTo>
                  <a:lnTo>
                    <a:pt x="9173" y="2170"/>
                  </a:lnTo>
                  <a:lnTo>
                    <a:pt x="9158" y="2176"/>
                  </a:lnTo>
                  <a:lnTo>
                    <a:pt x="9145" y="2183"/>
                  </a:lnTo>
                  <a:lnTo>
                    <a:pt x="9132" y="2192"/>
                  </a:lnTo>
                  <a:lnTo>
                    <a:pt x="9118" y="2201"/>
                  </a:lnTo>
                  <a:lnTo>
                    <a:pt x="9107" y="2212"/>
                  </a:lnTo>
                  <a:lnTo>
                    <a:pt x="9100" y="2217"/>
                  </a:lnTo>
                  <a:lnTo>
                    <a:pt x="9092" y="2222"/>
                  </a:lnTo>
                  <a:lnTo>
                    <a:pt x="9078" y="2238"/>
                  </a:lnTo>
                  <a:lnTo>
                    <a:pt x="9064" y="2256"/>
                  </a:lnTo>
                  <a:lnTo>
                    <a:pt x="9051" y="2279"/>
                  </a:lnTo>
                  <a:lnTo>
                    <a:pt x="9039" y="2305"/>
                  </a:lnTo>
                  <a:lnTo>
                    <a:pt x="9025" y="2333"/>
                  </a:lnTo>
                  <a:lnTo>
                    <a:pt x="9014" y="2364"/>
                  </a:lnTo>
                  <a:lnTo>
                    <a:pt x="9002" y="2398"/>
                  </a:lnTo>
                  <a:lnTo>
                    <a:pt x="8990" y="2433"/>
                  </a:lnTo>
                  <a:lnTo>
                    <a:pt x="8980" y="2470"/>
                  </a:lnTo>
                  <a:lnTo>
                    <a:pt x="8970" y="2509"/>
                  </a:lnTo>
                  <a:lnTo>
                    <a:pt x="8959" y="2549"/>
                  </a:lnTo>
                  <a:lnTo>
                    <a:pt x="8941" y="2630"/>
                  </a:lnTo>
                  <a:lnTo>
                    <a:pt x="8923" y="2714"/>
                  </a:lnTo>
                  <a:lnTo>
                    <a:pt x="8909" y="2796"/>
                  </a:lnTo>
                  <a:lnTo>
                    <a:pt x="8901" y="2836"/>
                  </a:lnTo>
                  <a:lnTo>
                    <a:pt x="8895" y="2876"/>
                  </a:lnTo>
                  <a:lnTo>
                    <a:pt x="8889" y="2913"/>
                  </a:lnTo>
                  <a:lnTo>
                    <a:pt x="8884" y="2949"/>
                  </a:lnTo>
                  <a:lnTo>
                    <a:pt x="8879" y="2983"/>
                  </a:lnTo>
                  <a:lnTo>
                    <a:pt x="8875" y="3014"/>
                  </a:lnTo>
                  <a:lnTo>
                    <a:pt x="8870" y="3042"/>
                  </a:lnTo>
                  <a:lnTo>
                    <a:pt x="8867" y="3068"/>
                  </a:lnTo>
                  <a:lnTo>
                    <a:pt x="8864" y="3091"/>
                  </a:lnTo>
                  <a:lnTo>
                    <a:pt x="8861" y="3110"/>
                  </a:lnTo>
                  <a:lnTo>
                    <a:pt x="8860" y="3126"/>
                  </a:lnTo>
                  <a:lnTo>
                    <a:pt x="8859" y="3132"/>
                  </a:lnTo>
                  <a:lnTo>
                    <a:pt x="8858" y="3137"/>
                  </a:lnTo>
                  <a:lnTo>
                    <a:pt x="8858" y="3141"/>
                  </a:lnTo>
                  <a:lnTo>
                    <a:pt x="8858" y="3144"/>
                  </a:lnTo>
                  <a:lnTo>
                    <a:pt x="8857" y="3146"/>
                  </a:lnTo>
                  <a:lnTo>
                    <a:pt x="8857" y="3146"/>
                  </a:lnTo>
                  <a:lnTo>
                    <a:pt x="8857" y="3146"/>
                  </a:lnTo>
                  <a:close/>
                  <a:moveTo>
                    <a:pt x="9387" y="3926"/>
                  </a:moveTo>
                  <a:lnTo>
                    <a:pt x="9389" y="3924"/>
                  </a:lnTo>
                  <a:lnTo>
                    <a:pt x="9393" y="3920"/>
                  </a:lnTo>
                  <a:lnTo>
                    <a:pt x="9399" y="3914"/>
                  </a:lnTo>
                  <a:lnTo>
                    <a:pt x="9407" y="3906"/>
                  </a:lnTo>
                  <a:lnTo>
                    <a:pt x="9418" y="3895"/>
                  </a:lnTo>
                  <a:lnTo>
                    <a:pt x="9430" y="3883"/>
                  </a:lnTo>
                  <a:lnTo>
                    <a:pt x="9443" y="3870"/>
                  </a:lnTo>
                  <a:lnTo>
                    <a:pt x="9457" y="3856"/>
                  </a:lnTo>
                  <a:lnTo>
                    <a:pt x="9488" y="3825"/>
                  </a:lnTo>
                  <a:lnTo>
                    <a:pt x="9519" y="3794"/>
                  </a:lnTo>
                  <a:lnTo>
                    <a:pt x="9548" y="3764"/>
                  </a:lnTo>
                  <a:lnTo>
                    <a:pt x="9561" y="3751"/>
                  </a:lnTo>
                  <a:lnTo>
                    <a:pt x="9573" y="3739"/>
                  </a:lnTo>
                  <a:lnTo>
                    <a:pt x="9597" y="3717"/>
                  </a:lnTo>
                  <a:lnTo>
                    <a:pt x="9620" y="3699"/>
                  </a:lnTo>
                  <a:lnTo>
                    <a:pt x="9641" y="3682"/>
                  </a:lnTo>
                  <a:lnTo>
                    <a:pt x="9659" y="3669"/>
                  </a:lnTo>
                  <a:lnTo>
                    <a:pt x="9676" y="3658"/>
                  </a:lnTo>
                  <a:lnTo>
                    <a:pt x="9682" y="3654"/>
                  </a:lnTo>
                  <a:lnTo>
                    <a:pt x="9688" y="3651"/>
                  </a:lnTo>
                  <a:lnTo>
                    <a:pt x="9692" y="3648"/>
                  </a:lnTo>
                  <a:lnTo>
                    <a:pt x="9696" y="3647"/>
                  </a:lnTo>
                  <a:lnTo>
                    <a:pt x="9698" y="3646"/>
                  </a:lnTo>
                  <a:lnTo>
                    <a:pt x="9698" y="3645"/>
                  </a:lnTo>
                  <a:lnTo>
                    <a:pt x="9699" y="3652"/>
                  </a:lnTo>
                  <a:lnTo>
                    <a:pt x="9700" y="3659"/>
                  </a:lnTo>
                  <a:lnTo>
                    <a:pt x="9702" y="3669"/>
                  </a:lnTo>
                  <a:lnTo>
                    <a:pt x="9705" y="3679"/>
                  </a:lnTo>
                  <a:lnTo>
                    <a:pt x="9714" y="3702"/>
                  </a:lnTo>
                  <a:lnTo>
                    <a:pt x="9719" y="3714"/>
                  </a:lnTo>
                  <a:lnTo>
                    <a:pt x="9726" y="3727"/>
                  </a:lnTo>
                  <a:lnTo>
                    <a:pt x="9733" y="3741"/>
                  </a:lnTo>
                  <a:lnTo>
                    <a:pt x="9743" y="3754"/>
                  </a:lnTo>
                  <a:lnTo>
                    <a:pt x="9753" y="3768"/>
                  </a:lnTo>
                  <a:lnTo>
                    <a:pt x="9764" y="3781"/>
                  </a:lnTo>
                  <a:lnTo>
                    <a:pt x="9777" y="3794"/>
                  </a:lnTo>
                  <a:lnTo>
                    <a:pt x="9791" y="3808"/>
                  </a:lnTo>
                  <a:lnTo>
                    <a:pt x="9807" y="3820"/>
                  </a:lnTo>
                  <a:lnTo>
                    <a:pt x="9823" y="3832"/>
                  </a:lnTo>
                  <a:lnTo>
                    <a:pt x="9846" y="3854"/>
                  </a:lnTo>
                  <a:lnTo>
                    <a:pt x="9869" y="3875"/>
                  </a:lnTo>
                  <a:lnTo>
                    <a:pt x="9889" y="3893"/>
                  </a:lnTo>
                  <a:lnTo>
                    <a:pt x="9910" y="3910"/>
                  </a:lnTo>
                  <a:lnTo>
                    <a:pt x="9929" y="3924"/>
                  </a:lnTo>
                  <a:lnTo>
                    <a:pt x="9947" y="3936"/>
                  </a:lnTo>
                  <a:lnTo>
                    <a:pt x="9964" y="3948"/>
                  </a:lnTo>
                  <a:lnTo>
                    <a:pt x="9979" y="3957"/>
                  </a:lnTo>
                  <a:lnTo>
                    <a:pt x="9993" y="3965"/>
                  </a:lnTo>
                  <a:lnTo>
                    <a:pt x="10005" y="3971"/>
                  </a:lnTo>
                  <a:lnTo>
                    <a:pt x="10016" y="3978"/>
                  </a:lnTo>
                  <a:lnTo>
                    <a:pt x="10025" y="3982"/>
                  </a:lnTo>
                  <a:lnTo>
                    <a:pt x="10032" y="3985"/>
                  </a:lnTo>
                  <a:lnTo>
                    <a:pt x="10037" y="3987"/>
                  </a:lnTo>
                  <a:lnTo>
                    <a:pt x="10040" y="3988"/>
                  </a:lnTo>
                  <a:lnTo>
                    <a:pt x="10041" y="3988"/>
                  </a:lnTo>
                  <a:lnTo>
                    <a:pt x="10040" y="3989"/>
                  </a:lnTo>
                  <a:lnTo>
                    <a:pt x="10037" y="3992"/>
                  </a:lnTo>
                  <a:lnTo>
                    <a:pt x="10033" y="3997"/>
                  </a:lnTo>
                  <a:lnTo>
                    <a:pt x="10027" y="4004"/>
                  </a:lnTo>
                  <a:lnTo>
                    <a:pt x="10018" y="4013"/>
                  </a:lnTo>
                  <a:lnTo>
                    <a:pt x="10010" y="4023"/>
                  </a:lnTo>
                  <a:lnTo>
                    <a:pt x="10001" y="4034"/>
                  </a:lnTo>
                  <a:lnTo>
                    <a:pt x="9990" y="4047"/>
                  </a:lnTo>
                  <a:lnTo>
                    <a:pt x="9980" y="4060"/>
                  </a:lnTo>
                  <a:lnTo>
                    <a:pt x="9970" y="4074"/>
                  </a:lnTo>
                  <a:lnTo>
                    <a:pt x="9949" y="4106"/>
                  </a:lnTo>
                  <a:lnTo>
                    <a:pt x="9932" y="4140"/>
                  </a:lnTo>
                  <a:lnTo>
                    <a:pt x="9923" y="4158"/>
                  </a:lnTo>
                  <a:lnTo>
                    <a:pt x="9917" y="4175"/>
                  </a:lnTo>
                  <a:lnTo>
                    <a:pt x="9895" y="4211"/>
                  </a:lnTo>
                  <a:lnTo>
                    <a:pt x="9876" y="4249"/>
                  </a:lnTo>
                  <a:lnTo>
                    <a:pt x="9859" y="4286"/>
                  </a:lnTo>
                  <a:lnTo>
                    <a:pt x="9853" y="4303"/>
                  </a:lnTo>
                  <a:lnTo>
                    <a:pt x="9847" y="4320"/>
                  </a:lnTo>
                  <a:lnTo>
                    <a:pt x="9841" y="4335"/>
                  </a:lnTo>
                  <a:lnTo>
                    <a:pt x="9837" y="4350"/>
                  </a:lnTo>
                  <a:lnTo>
                    <a:pt x="9833" y="4362"/>
                  </a:lnTo>
                  <a:lnTo>
                    <a:pt x="9828" y="4372"/>
                  </a:lnTo>
                  <a:lnTo>
                    <a:pt x="9826" y="4381"/>
                  </a:lnTo>
                  <a:lnTo>
                    <a:pt x="9824" y="4388"/>
                  </a:lnTo>
                  <a:lnTo>
                    <a:pt x="9823" y="4392"/>
                  </a:lnTo>
                  <a:lnTo>
                    <a:pt x="9823" y="4394"/>
                  </a:lnTo>
                  <a:lnTo>
                    <a:pt x="9823" y="4393"/>
                  </a:lnTo>
                  <a:lnTo>
                    <a:pt x="9826" y="4391"/>
                  </a:lnTo>
                  <a:lnTo>
                    <a:pt x="9829" y="4387"/>
                  </a:lnTo>
                  <a:lnTo>
                    <a:pt x="9835" y="4381"/>
                  </a:lnTo>
                  <a:lnTo>
                    <a:pt x="9841" y="4374"/>
                  </a:lnTo>
                  <a:lnTo>
                    <a:pt x="9848" y="4366"/>
                  </a:lnTo>
                  <a:lnTo>
                    <a:pt x="9856" y="4357"/>
                  </a:lnTo>
                  <a:lnTo>
                    <a:pt x="9867" y="4346"/>
                  </a:lnTo>
                  <a:lnTo>
                    <a:pt x="9877" y="4335"/>
                  </a:lnTo>
                  <a:lnTo>
                    <a:pt x="9889" y="4322"/>
                  </a:lnTo>
                  <a:lnTo>
                    <a:pt x="9903" y="4308"/>
                  </a:lnTo>
                  <a:lnTo>
                    <a:pt x="9917" y="4293"/>
                  </a:lnTo>
                  <a:lnTo>
                    <a:pt x="9948" y="4261"/>
                  </a:lnTo>
                  <a:lnTo>
                    <a:pt x="9983" y="4226"/>
                  </a:lnTo>
                  <a:lnTo>
                    <a:pt x="10021" y="4188"/>
                  </a:lnTo>
                  <a:lnTo>
                    <a:pt x="10062" y="4149"/>
                  </a:lnTo>
                  <a:lnTo>
                    <a:pt x="10106" y="4107"/>
                  </a:lnTo>
                  <a:lnTo>
                    <a:pt x="10153" y="4064"/>
                  </a:lnTo>
                  <a:lnTo>
                    <a:pt x="10200" y="4022"/>
                  </a:lnTo>
                  <a:lnTo>
                    <a:pt x="10250" y="3979"/>
                  </a:lnTo>
                  <a:lnTo>
                    <a:pt x="10301" y="3936"/>
                  </a:lnTo>
                  <a:lnTo>
                    <a:pt x="10353" y="3894"/>
                  </a:lnTo>
                  <a:lnTo>
                    <a:pt x="10429" y="3838"/>
                  </a:lnTo>
                  <a:lnTo>
                    <a:pt x="10505" y="3785"/>
                  </a:lnTo>
                  <a:lnTo>
                    <a:pt x="10578" y="3736"/>
                  </a:lnTo>
                  <a:lnTo>
                    <a:pt x="10651" y="3690"/>
                  </a:lnTo>
                  <a:lnTo>
                    <a:pt x="10720" y="3648"/>
                  </a:lnTo>
                  <a:lnTo>
                    <a:pt x="10787" y="3610"/>
                  </a:lnTo>
                  <a:lnTo>
                    <a:pt x="10819" y="3592"/>
                  </a:lnTo>
                  <a:lnTo>
                    <a:pt x="10851" y="3575"/>
                  </a:lnTo>
                  <a:lnTo>
                    <a:pt x="10881" y="3559"/>
                  </a:lnTo>
                  <a:lnTo>
                    <a:pt x="10910" y="3544"/>
                  </a:lnTo>
                  <a:lnTo>
                    <a:pt x="10938" y="3530"/>
                  </a:lnTo>
                  <a:lnTo>
                    <a:pt x="10965" y="3517"/>
                  </a:lnTo>
                  <a:lnTo>
                    <a:pt x="10990" y="3505"/>
                  </a:lnTo>
                  <a:lnTo>
                    <a:pt x="11014" y="3494"/>
                  </a:lnTo>
                  <a:lnTo>
                    <a:pt x="11036" y="3482"/>
                  </a:lnTo>
                  <a:lnTo>
                    <a:pt x="11057" y="3473"/>
                  </a:lnTo>
                  <a:lnTo>
                    <a:pt x="11076" y="3465"/>
                  </a:lnTo>
                  <a:lnTo>
                    <a:pt x="11094" y="3456"/>
                  </a:lnTo>
                  <a:lnTo>
                    <a:pt x="11110" y="3449"/>
                  </a:lnTo>
                  <a:lnTo>
                    <a:pt x="11123" y="3444"/>
                  </a:lnTo>
                  <a:lnTo>
                    <a:pt x="11135" y="3439"/>
                  </a:lnTo>
                  <a:lnTo>
                    <a:pt x="11146" y="3435"/>
                  </a:lnTo>
                  <a:lnTo>
                    <a:pt x="11153" y="3432"/>
                  </a:lnTo>
                  <a:lnTo>
                    <a:pt x="11159" y="3430"/>
                  </a:lnTo>
                  <a:lnTo>
                    <a:pt x="11162" y="3428"/>
                  </a:lnTo>
                  <a:lnTo>
                    <a:pt x="11163" y="3428"/>
                  </a:lnTo>
                  <a:lnTo>
                    <a:pt x="11162" y="3428"/>
                  </a:lnTo>
                  <a:lnTo>
                    <a:pt x="11158" y="3428"/>
                  </a:lnTo>
                  <a:lnTo>
                    <a:pt x="11151" y="3428"/>
                  </a:lnTo>
                  <a:lnTo>
                    <a:pt x="11142" y="3429"/>
                  </a:lnTo>
                  <a:lnTo>
                    <a:pt x="11131" y="3430"/>
                  </a:lnTo>
                  <a:lnTo>
                    <a:pt x="11118" y="3431"/>
                  </a:lnTo>
                  <a:lnTo>
                    <a:pt x="11102" y="3433"/>
                  </a:lnTo>
                  <a:lnTo>
                    <a:pt x="11086" y="3435"/>
                  </a:lnTo>
                  <a:lnTo>
                    <a:pt x="11067" y="3439"/>
                  </a:lnTo>
                  <a:lnTo>
                    <a:pt x="11048" y="3443"/>
                  </a:lnTo>
                  <a:lnTo>
                    <a:pt x="11027" y="3447"/>
                  </a:lnTo>
                  <a:lnTo>
                    <a:pt x="11005" y="3453"/>
                  </a:lnTo>
                  <a:lnTo>
                    <a:pt x="10984" y="3461"/>
                  </a:lnTo>
                  <a:lnTo>
                    <a:pt x="10961" y="3469"/>
                  </a:lnTo>
                  <a:lnTo>
                    <a:pt x="10937" y="3479"/>
                  </a:lnTo>
                  <a:lnTo>
                    <a:pt x="10914" y="3489"/>
                  </a:lnTo>
                  <a:lnTo>
                    <a:pt x="10892" y="3496"/>
                  </a:lnTo>
                  <a:lnTo>
                    <a:pt x="10872" y="3501"/>
                  </a:lnTo>
                  <a:lnTo>
                    <a:pt x="10853" y="3507"/>
                  </a:lnTo>
                  <a:lnTo>
                    <a:pt x="10837" y="3512"/>
                  </a:lnTo>
                  <a:lnTo>
                    <a:pt x="10823" y="3518"/>
                  </a:lnTo>
                  <a:lnTo>
                    <a:pt x="10810" y="3523"/>
                  </a:lnTo>
                  <a:lnTo>
                    <a:pt x="10799" y="3528"/>
                  </a:lnTo>
                  <a:lnTo>
                    <a:pt x="10789" y="3533"/>
                  </a:lnTo>
                  <a:lnTo>
                    <a:pt x="10781" y="3537"/>
                  </a:lnTo>
                  <a:lnTo>
                    <a:pt x="10775" y="3541"/>
                  </a:lnTo>
                  <a:lnTo>
                    <a:pt x="10769" y="3544"/>
                  </a:lnTo>
                  <a:lnTo>
                    <a:pt x="10765" y="3547"/>
                  </a:lnTo>
                  <a:lnTo>
                    <a:pt x="10762" y="3549"/>
                  </a:lnTo>
                  <a:lnTo>
                    <a:pt x="10760" y="3550"/>
                  </a:lnTo>
                  <a:lnTo>
                    <a:pt x="10759" y="3552"/>
                  </a:lnTo>
                  <a:lnTo>
                    <a:pt x="10759" y="3550"/>
                  </a:lnTo>
                  <a:lnTo>
                    <a:pt x="10759" y="3545"/>
                  </a:lnTo>
                  <a:lnTo>
                    <a:pt x="10757" y="3537"/>
                  </a:lnTo>
                  <a:lnTo>
                    <a:pt x="10756" y="3525"/>
                  </a:lnTo>
                  <a:lnTo>
                    <a:pt x="10754" y="3512"/>
                  </a:lnTo>
                  <a:lnTo>
                    <a:pt x="10751" y="3496"/>
                  </a:lnTo>
                  <a:lnTo>
                    <a:pt x="10748" y="3478"/>
                  </a:lnTo>
                  <a:lnTo>
                    <a:pt x="10743" y="3459"/>
                  </a:lnTo>
                  <a:lnTo>
                    <a:pt x="10736" y="3437"/>
                  </a:lnTo>
                  <a:lnTo>
                    <a:pt x="10728" y="3415"/>
                  </a:lnTo>
                  <a:lnTo>
                    <a:pt x="10717" y="3392"/>
                  </a:lnTo>
                  <a:lnTo>
                    <a:pt x="10706" y="3368"/>
                  </a:lnTo>
                  <a:lnTo>
                    <a:pt x="10691" y="3343"/>
                  </a:lnTo>
                  <a:lnTo>
                    <a:pt x="10675" y="3319"/>
                  </a:lnTo>
                  <a:lnTo>
                    <a:pt x="10655" y="3295"/>
                  </a:lnTo>
                  <a:lnTo>
                    <a:pt x="10634" y="3271"/>
                  </a:lnTo>
                  <a:lnTo>
                    <a:pt x="10615" y="3249"/>
                  </a:lnTo>
                  <a:lnTo>
                    <a:pt x="10597" y="3229"/>
                  </a:lnTo>
                  <a:lnTo>
                    <a:pt x="10579" y="3210"/>
                  </a:lnTo>
                  <a:lnTo>
                    <a:pt x="10560" y="3195"/>
                  </a:lnTo>
                  <a:lnTo>
                    <a:pt x="10542" y="3180"/>
                  </a:lnTo>
                  <a:lnTo>
                    <a:pt x="10523" y="3167"/>
                  </a:lnTo>
                  <a:lnTo>
                    <a:pt x="10506" y="3157"/>
                  </a:lnTo>
                  <a:lnTo>
                    <a:pt x="10489" y="3146"/>
                  </a:lnTo>
                  <a:lnTo>
                    <a:pt x="10474" y="3139"/>
                  </a:lnTo>
                  <a:lnTo>
                    <a:pt x="10460" y="3132"/>
                  </a:lnTo>
                  <a:lnTo>
                    <a:pt x="10447" y="3127"/>
                  </a:lnTo>
                  <a:lnTo>
                    <a:pt x="10436" y="3123"/>
                  </a:lnTo>
                  <a:lnTo>
                    <a:pt x="10427" y="3120"/>
                  </a:lnTo>
                  <a:lnTo>
                    <a:pt x="10421" y="3118"/>
                  </a:lnTo>
                  <a:lnTo>
                    <a:pt x="10417" y="3117"/>
                  </a:lnTo>
                  <a:lnTo>
                    <a:pt x="10416" y="3116"/>
                  </a:lnTo>
                  <a:lnTo>
                    <a:pt x="10416" y="3114"/>
                  </a:lnTo>
                  <a:lnTo>
                    <a:pt x="10418" y="3110"/>
                  </a:lnTo>
                  <a:lnTo>
                    <a:pt x="10419" y="3107"/>
                  </a:lnTo>
                  <a:lnTo>
                    <a:pt x="10422" y="3104"/>
                  </a:lnTo>
                  <a:lnTo>
                    <a:pt x="10426" y="3100"/>
                  </a:lnTo>
                  <a:lnTo>
                    <a:pt x="10431" y="3096"/>
                  </a:lnTo>
                  <a:lnTo>
                    <a:pt x="10437" y="3092"/>
                  </a:lnTo>
                  <a:lnTo>
                    <a:pt x="10446" y="3087"/>
                  </a:lnTo>
                  <a:lnTo>
                    <a:pt x="10456" y="3082"/>
                  </a:lnTo>
                  <a:lnTo>
                    <a:pt x="10468" y="3076"/>
                  </a:lnTo>
                  <a:lnTo>
                    <a:pt x="10482" y="3071"/>
                  </a:lnTo>
                  <a:lnTo>
                    <a:pt x="10499" y="3065"/>
                  </a:lnTo>
                  <a:lnTo>
                    <a:pt x="10518" y="3059"/>
                  </a:lnTo>
                  <a:lnTo>
                    <a:pt x="10540" y="3054"/>
                  </a:lnTo>
                  <a:lnTo>
                    <a:pt x="10562" y="3048"/>
                  </a:lnTo>
                  <a:lnTo>
                    <a:pt x="10584" y="3041"/>
                  </a:lnTo>
                  <a:lnTo>
                    <a:pt x="10604" y="3036"/>
                  </a:lnTo>
                  <a:lnTo>
                    <a:pt x="10622" y="3030"/>
                  </a:lnTo>
                  <a:lnTo>
                    <a:pt x="10639" y="3025"/>
                  </a:lnTo>
                  <a:lnTo>
                    <a:pt x="10654" y="3020"/>
                  </a:lnTo>
                  <a:lnTo>
                    <a:pt x="10668" y="3016"/>
                  </a:lnTo>
                  <a:lnTo>
                    <a:pt x="10680" y="3010"/>
                  </a:lnTo>
                  <a:lnTo>
                    <a:pt x="10691" y="3006"/>
                  </a:lnTo>
                  <a:lnTo>
                    <a:pt x="10701" y="3002"/>
                  </a:lnTo>
                  <a:lnTo>
                    <a:pt x="10709" y="2999"/>
                  </a:lnTo>
                  <a:lnTo>
                    <a:pt x="10715" y="2996"/>
                  </a:lnTo>
                  <a:lnTo>
                    <a:pt x="10720" y="2994"/>
                  </a:lnTo>
                  <a:lnTo>
                    <a:pt x="10724" y="2993"/>
                  </a:lnTo>
                  <a:lnTo>
                    <a:pt x="10727" y="2992"/>
                  </a:lnTo>
                  <a:lnTo>
                    <a:pt x="10728" y="2991"/>
                  </a:lnTo>
                  <a:lnTo>
                    <a:pt x="10723" y="2991"/>
                  </a:lnTo>
                  <a:lnTo>
                    <a:pt x="10718" y="2991"/>
                  </a:lnTo>
                  <a:lnTo>
                    <a:pt x="10710" y="2991"/>
                  </a:lnTo>
                  <a:lnTo>
                    <a:pt x="10702" y="2992"/>
                  </a:lnTo>
                  <a:lnTo>
                    <a:pt x="10690" y="2992"/>
                  </a:lnTo>
                  <a:lnTo>
                    <a:pt x="10679" y="2993"/>
                  </a:lnTo>
                  <a:lnTo>
                    <a:pt x="10665" y="2994"/>
                  </a:lnTo>
                  <a:lnTo>
                    <a:pt x="10650" y="2995"/>
                  </a:lnTo>
                  <a:lnTo>
                    <a:pt x="10634" y="2997"/>
                  </a:lnTo>
                  <a:lnTo>
                    <a:pt x="10615" y="2999"/>
                  </a:lnTo>
                  <a:lnTo>
                    <a:pt x="10595" y="3001"/>
                  </a:lnTo>
                  <a:lnTo>
                    <a:pt x="10576" y="3004"/>
                  </a:lnTo>
                  <a:lnTo>
                    <a:pt x="10554" y="3008"/>
                  </a:lnTo>
                  <a:lnTo>
                    <a:pt x="10530" y="3013"/>
                  </a:lnTo>
                  <a:lnTo>
                    <a:pt x="10507" y="3017"/>
                  </a:lnTo>
                  <a:lnTo>
                    <a:pt x="10482" y="3023"/>
                  </a:lnTo>
                  <a:lnTo>
                    <a:pt x="10428" y="3035"/>
                  </a:lnTo>
                  <a:lnTo>
                    <a:pt x="10371" y="3052"/>
                  </a:lnTo>
                  <a:lnTo>
                    <a:pt x="10312" y="3072"/>
                  </a:lnTo>
                  <a:lnTo>
                    <a:pt x="10281" y="3084"/>
                  </a:lnTo>
                  <a:lnTo>
                    <a:pt x="10250" y="3096"/>
                  </a:lnTo>
                  <a:lnTo>
                    <a:pt x="10217" y="3110"/>
                  </a:lnTo>
                  <a:lnTo>
                    <a:pt x="10185" y="3125"/>
                  </a:lnTo>
                  <a:lnTo>
                    <a:pt x="10150" y="3141"/>
                  </a:lnTo>
                  <a:lnTo>
                    <a:pt x="10117" y="3158"/>
                  </a:lnTo>
                  <a:lnTo>
                    <a:pt x="10083" y="3176"/>
                  </a:lnTo>
                  <a:lnTo>
                    <a:pt x="10048" y="3197"/>
                  </a:lnTo>
                  <a:lnTo>
                    <a:pt x="10014" y="3217"/>
                  </a:lnTo>
                  <a:lnTo>
                    <a:pt x="9979" y="3240"/>
                  </a:lnTo>
                  <a:lnTo>
                    <a:pt x="9944" y="3262"/>
                  </a:lnTo>
                  <a:lnTo>
                    <a:pt x="9911" y="3284"/>
                  </a:lnTo>
                  <a:lnTo>
                    <a:pt x="9878" y="3308"/>
                  </a:lnTo>
                  <a:lnTo>
                    <a:pt x="9846" y="3333"/>
                  </a:lnTo>
                  <a:lnTo>
                    <a:pt x="9785" y="3384"/>
                  </a:lnTo>
                  <a:lnTo>
                    <a:pt x="9728" y="3439"/>
                  </a:lnTo>
                  <a:lnTo>
                    <a:pt x="9676" y="3496"/>
                  </a:lnTo>
                  <a:lnTo>
                    <a:pt x="9651" y="3524"/>
                  </a:lnTo>
                  <a:lnTo>
                    <a:pt x="9627" y="3553"/>
                  </a:lnTo>
                  <a:lnTo>
                    <a:pt x="9604" y="3581"/>
                  </a:lnTo>
                  <a:lnTo>
                    <a:pt x="9583" y="3610"/>
                  </a:lnTo>
                  <a:lnTo>
                    <a:pt x="9562" y="3638"/>
                  </a:lnTo>
                  <a:lnTo>
                    <a:pt x="9542" y="3665"/>
                  </a:lnTo>
                  <a:lnTo>
                    <a:pt x="9524" y="3691"/>
                  </a:lnTo>
                  <a:lnTo>
                    <a:pt x="9507" y="3717"/>
                  </a:lnTo>
                  <a:lnTo>
                    <a:pt x="9491" y="3743"/>
                  </a:lnTo>
                  <a:lnTo>
                    <a:pt x="9475" y="3767"/>
                  </a:lnTo>
                  <a:lnTo>
                    <a:pt x="9462" y="3789"/>
                  </a:lnTo>
                  <a:lnTo>
                    <a:pt x="9449" y="3811"/>
                  </a:lnTo>
                  <a:lnTo>
                    <a:pt x="9437" y="3831"/>
                  </a:lnTo>
                  <a:lnTo>
                    <a:pt x="9427" y="3850"/>
                  </a:lnTo>
                  <a:lnTo>
                    <a:pt x="9418" y="3866"/>
                  </a:lnTo>
                  <a:lnTo>
                    <a:pt x="9409" y="3881"/>
                  </a:lnTo>
                  <a:lnTo>
                    <a:pt x="9403" y="3894"/>
                  </a:lnTo>
                  <a:lnTo>
                    <a:pt x="9397" y="3906"/>
                  </a:lnTo>
                  <a:lnTo>
                    <a:pt x="9393" y="3914"/>
                  </a:lnTo>
                  <a:lnTo>
                    <a:pt x="9390" y="3921"/>
                  </a:lnTo>
                  <a:lnTo>
                    <a:pt x="9388" y="3924"/>
                  </a:lnTo>
                  <a:lnTo>
                    <a:pt x="9387" y="3926"/>
                  </a:lnTo>
                  <a:lnTo>
                    <a:pt x="9387" y="3926"/>
                  </a:lnTo>
                  <a:close/>
                  <a:moveTo>
                    <a:pt x="9231" y="0"/>
                  </a:moveTo>
                  <a:lnTo>
                    <a:pt x="9134" y="1"/>
                  </a:lnTo>
                  <a:lnTo>
                    <a:pt x="9040" y="4"/>
                  </a:lnTo>
                  <a:lnTo>
                    <a:pt x="8947" y="8"/>
                  </a:lnTo>
                  <a:lnTo>
                    <a:pt x="8856" y="15"/>
                  </a:lnTo>
                  <a:lnTo>
                    <a:pt x="8767" y="23"/>
                  </a:lnTo>
                  <a:lnTo>
                    <a:pt x="8680" y="34"/>
                  </a:lnTo>
                  <a:lnTo>
                    <a:pt x="8596" y="46"/>
                  </a:lnTo>
                  <a:lnTo>
                    <a:pt x="8513" y="59"/>
                  </a:lnTo>
                  <a:lnTo>
                    <a:pt x="8433" y="75"/>
                  </a:lnTo>
                  <a:lnTo>
                    <a:pt x="8354" y="91"/>
                  </a:lnTo>
                  <a:lnTo>
                    <a:pt x="8277" y="110"/>
                  </a:lnTo>
                  <a:lnTo>
                    <a:pt x="8202" y="129"/>
                  </a:lnTo>
                  <a:lnTo>
                    <a:pt x="8129" y="150"/>
                  </a:lnTo>
                  <a:lnTo>
                    <a:pt x="8058" y="172"/>
                  </a:lnTo>
                  <a:lnTo>
                    <a:pt x="7989" y="195"/>
                  </a:lnTo>
                  <a:lnTo>
                    <a:pt x="7921" y="219"/>
                  </a:lnTo>
                  <a:lnTo>
                    <a:pt x="7856" y="245"/>
                  </a:lnTo>
                  <a:lnTo>
                    <a:pt x="7792" y="272"/>
                  </a:lnTo>
                  <a:lnTo>
                    <a:pt x="7730" y="298"/>
                  </a:lnTo>
                  <a:lnTo>
                    <a:pt x="7669" y="326"/>
                  </a:lnTo>
                  <a:lnTo>
                    <a:pt x="7610" y="355"/>
                  </a:lnTo>
                  <a:lnTo>
                    <a:pt x="7553" y="385"/>
                  </a:lnTo>
                  <a:lnTo>
                    <a:pt x="7497" y="416"/>
                  </a:lnTo>
                  <a:lnTo>
                    <a:pt x="7444" y="447"/>
                  </a:lnTo>
                  <a:lnTo>
                    <a:pt x="7392" y="478"/>
                  </a:lnTo>
                  <a:lnTo>
                    <a:pt x="7342" y="510"/>
                  </a:lnTo>
                  <a:lnTo>
                    <a:pt x="7293" y="542"/>
                  </a:lnTo>
                  <a:lnTo>
                    <a:pt x="7246" y="575"/>
                  </a:lnTo>
                  <a:lnTo>
                    <a:pt x="7200" y="608"/>
                  </a:lnTo>
                  <a:lnTo>
                    <a:pt x="7157" y="641"/>
                  </a:lnTo>
                  <a:lnTo>
                    <a:pt x="7113" y="675"/>
                  </a:lnTo>
                  <a:lnTo>
                    <a:pt x="7073" y="708"/>
                  </a:lnTo>
                  <a:lnTo>
                    <a:pt x="7034" y="742"/>
                  </a:lnTo>
                  <a:lnTo>
                    <a:pt x="6996" y="775"/>
                  </a:lnTo>
                  <a:lnTo>
                    <a:pt x="6960" y="809"/>
                  </a:lnTo>
                  <a:lnTo>
                    <a:pt x="6924" y="842"/>
                  </a:lnTo>
                  <a:lnTo>
                    <a:pt x="6890" y="875"/>
                  </a:lnTo>
                  <a:lnTo>
                    <a:pt x="6858" y="908"/>
                  </a:lnTo>
                  <a:lnTo>
                    <a:pt x="6827" y="941"/>
                  </a:lnTo>
                  <a:lnTo>
                    <a:pt x="6799" y="973"/>
                  </a:lnTo>
                  <a:lnTo>
                    <a:pt x="6771" y="1005"/>
                  </a:lnTo>
                  <a:lnTo>
                    <a:pt x="6744" y="1036"/>
                  </a:lnTo>
                  <a:lnTo>
                    <a:pt x="6718" y="1067"/>
                  </a:lnTo>
                  <a:lnTo>
                    <a:pt x="6694" y="1097"/>
                  </a:lnTo>
                  <a:lnTo>
                    <a:pt x="6672" y="1127"/>
                  </a:lnTo>
                  <a:lnTo>
                    <a:pt x="6650" y="1154"/>
                  </a:lnTo>
                  <a:lnTo>
                    <a:pt x="6629" y="1182"/>
                  </a:lnTo>
                  <a:lnTo>
                    <a:pt x="6611" y="1209"/>
                  </a:lnTo>
                  <a:lnTo>
                    <a:pt x="6593" y="1235"/>
                  </a:lnTo>
                  <a:lnTo>
                    <a:pt x="6576" y="1259"/>
                  </a:lnTo>
                  <a:lnTo>
                    <a:pt x="6560" y="1283"/>
                  </a:lnTo>
                  <a:lnTo>
                    <a:pt x="6547" y="1306"/>
                  </a:lnTo>
                  <a:lnTo>
                    <a:pt x="6533" y="1327"/>
                  </a:lnTo>
                  <a:lnTo>
                    <a:pt x="6521" y="1347"/>
                  </a:lnTo>
                  <a:lnTo>
                    <a:pt x="6509" y="1365"/>
                  </a:lnTo>
                  <a:lnTo>
                    <a:pt x="6500" y="1383"/>
                  </a:lnTo>
                  <a:lnTo>
                    <a:pt x="6491" y="1399"/>
                  </a:lnTo>
                  <a:lnTo>
                    <a:pt x="6484" y="1414"/>
                  </a:lnTo>
                  <a:lnTo>
                    <a:pt x="6476" y="1426"/>
                  </a:lnTo>
                  <a:lnTo>
                    <a:pt x="6471" y="1438"/>
                  </a:lnTo>
                  <a:lnTo>
                    <a:pt x="6466" y="1447"/>
                  </a:lnTo>
                  <a:lnTo>
                    <a:pt x="6462" y="1454"/>
                  </a:lnTo>
                  <a:lnTo>
                    <a:pt x="6460" y="1460"/>
                  </a:lnTo>
                  <a:lnTo>
                    <a:pt x="6458" y="1464"/>
                  </a:lnTo>
                  <a:lnTo>
                    <a:pt x="6431" y="1476"/>
                  </a:lnTo>
                  <a:lnTo>
                    <a:pt x="6402" y="1487"/>
                  </a:lnTo>
                  <a:lnTo>
                    <a:pt x="6373" y="1496"/>
                  </a:lnTo>
                  <a:lnTo>
                    <a:pt x="6343" y="1506"/>
                  </a:lnTo>
                  <a:lnTo>
                    <a:pt x="6311" y="1513"/>
                  </a:lnTo>
                  <a:lnTo>
                    <a:pt x="6278" y="1519"/>
                  </a:lnTo>
                  <a:lnTo>
                    <a:pt x="6244" y="1523"/>
                  </a:lnTo>
                  <a:lnTo>
                    <a:pt x="6208" y="1526"/>
                  </a:lnTo>
                  <a:lnTo>
                    <a:pt x="6161" y="1540"/>
                  </a:lnTo>
                  <a:lnTo>
                    <a:pt x="6114" y="1557"/>
                  </a:lnTo>
                  <a:lnTo>
                    <a:pt x="6090" y="1567"/>
                  </a:lnTo>
                  <a:lnTo>
                    <a:pt x="6067" y="1579"/>
                  </a:lnTo>
                  <a:lnTo>
                    <a:pt x="6043" y="1591"/>
                  </a:lnTo>
                  <a:lnTo>
                    <a:pt x="6018" y="1604"/>
                  </a:lnTo>
                  <a:lnTo>
                    <a:pt x="5994" y="1619"/>
                  </a:lnTo>
                  <a:lnTo>
                    <a:pt x="5970" y="1634"/>
                  </a:lnTo>
                  <a:lnTo>
                    <a:pt x="5945" y="1651"/>
                  </a:lnTo>
                  <a:lnTo>
                    <a:pt x="5919" y="1668"/>
                  </a:lnTo>
                  <a:lnTo>
                    <a:pt x="5893" y="1688"/>
                  </a:lnTo>
                  <a:lnTo>
                    <a:pt x="5867" y="1708"/>
                  </a:lnTo>
                  <a:lnTo>
                    <a:pt x="5842" y="1729"/>
                  </a:lnTo>
                  <a:lnTo>
                    <a:pt x="5815" y="1752"/>
                  </a:lnTo>
                  <a:lnTo>
                    <a:pt x="5787" y="1776"/>
                  </a:lnTo>
                  <a:lnTo>
                    <a:pt x="5759" y="1801"/>
                  </a:lnTo>
                  <a:lnTo>
                    <a:pt x="5731" y="1828"/>
                  </a:lnTo>
                  <a:lnTo>
                    <a:pt x="5702" y="1856"/>
                  </a:lnTo>
                  <a:lnTo>
                    <a:pt x="5673" y="1886"/>
                  </a:lnTo>
                  <a:lnTo>
                    <a:pt x="5643" y="1917"/>
                  </a:lnTo>
                  <a:lnTo>
                    <a:pt x="5612" y="1948"/>
                  </a:lnTo>
                  <a:lnTo>
                    <a:pt x="5581" y="1981"/>
                  </a:lnTo>
                  <a:lnTo>
                    <a:pt x="5549" y="2017"/>
                  </a:lnTo>
                  <a:lnTo>
                    <a:pt x="5516" y="2054"/>
                  </a:lnTo>
                  <a:lnTo>
                    <a:pt x="5483" y="2092"/>
                  </a:lnTo>
                  <a:lnTo>
                    <a:pt x="5449" y="2131"/>
                  </a:lnTo>
                  <a:lnTo>
                    <a:pt x="5414" y="2172"/>
                  </a:lnTo>
                  <a:lnTo>
                    <a:pt x="5379" y="2215"/>
                  </a:lnTo>
                  <a:lnTo>
                    <a:pt x="5342" y="2260"/>
                  </a:lnTo>
                  <a:lnTo>
                    <a:pt x="5305" y="2305"/>
                  </a:lnTo>
                  <a:lnTo>
                    <a:pt x="4961" y="2368"/>
                  </a:lnTo>
                  <a:lnTo>
                    <a:pt x="4957" y="2368"/>
                  </a:lnTo>
                  <a:lnTo>
                    <a:pt x="4951" y="2368"/>
                  </a:lnTo>
                  <a:lnTo>
                    <a:pt x="4942" y="2369"/>
                  </a:lnTo>
                  <a:lnTo>
                    <a:pt x="4932" y="2370"/>
                  </a:lnTo>
                  <a:lnTo>
                    <a:pt x="4920" y="2371"/>
                  </a:lnTo>
                  <a:lnTo>
                    <a:pt x="4904" y="2373"/>
                  </a:lnTo>
                  <a:lnTo>
                    <a:pt x="4888" y="2375"/>
                  </a:lnTo>
                  <a:lnTo>
                    <a:pt x="4869" y="2378"/>
                  </a:lnTo>
                  <a:lnTo>
                    <a:pt x="4848" y="2380"/>
                  </a:lnTo>
                  <a:lnTo>
                    <a:pt x="4826" y="2384"/>
                  </a:lnTo>
                  <a:lnTo>
                    <a:pt x="4802" y="2387"/>
                  </a:lnTo>
                  <a:lnTo>
                    <a:pt x="4776" y="2391"/>
                  </a:lnTo>
                  <a:lnTo>
                    <a:pt x="4748" y="2397"/>
                  </a:lnTo>
                  <a:lnTo>
                    <a:pt x="4719" y="2402"/>
                  </a:lnTo>
                  <a:lnTo>
                    <a:pt x="4688" y="2407"/>
                  </a:lnTo>
                  <a:lnTo>
                    <a:pt x="4656" y="2413"/>
                  </a:lnTo>
                  <a:lnTo>
                    <a:pt x="4622" y="2419"/>
                  </a:lnTo>
                  <a:lnTo>
                    <a:pt x="4587" y="2426"/>
                  </a:lnTo>
                  <a:lnTo>
                    <a:pt x="4550" y="2435"/>
                  </a:lnTo>
                  <a:lnTo>
                    <a:pt x="4512" y="2443"/>
                  </a:lnTo>
                  <a:lnTo>
                    <a:pt x="4473" y="2451"/>
                  </a:lnTo>
                  <a:lnTo>
                    <a:pt x="4432" y="2460"/>
                  </a:lnTo>
                  <a:lnTo>
                    <a:pt x="4390" y="2471"/>
                  </a:lnTo>
                  <a:lnTo>
                    <a:pt x="4347" y="2481"/>
                  </a:lnTo>
                  <a:lnTo>
                    <a:pt x="4303" y="2492"/>
                  </a:lnTo>
                  <a:lnTo>
                    <a:pt x="4258" y="2505"/>
                  </a:lnTo>
                  <a:lnTo>
                    <a:pt x="4165" y="2530"/>
                  </a:lnTo>
                  <a:lnTo>
                    <a:pt x="4068" y="2558"/>
                  </a:lnTo>
                  <a:lnTo>
                    <a:pt x="3968" y="2590"/>
                  </a:lnTo>
                  <a:lnTo>
                    <a:pt x="3865" y="2624"/>
                  </a:lnTo>
                  <a:lnTo>
                    <a:pt x="3759" y="2662"/>
                  </a:lnTo>
                  <a:lnTo>
                    <a:pt x="3652" y="2702"/>
                  </a:lnTo>
                  <a:lnTo>
                    <a:pt x="3544" y="2747"/>
                  </a:lnTo>
                  <a:lnTo>
                    <a:pt x="3433" y="2795"/>
                  </a:lnTo>
                  <a:lnTo>
                    <a:pt x="3322" y="2846"/>
                  </a:lnTo>
                  <a:lnTo>
                    <a:pt x="3210" y="2901"/>
                  </a:lnTo>
                  <a:lnTo>
                    <a:pt x="3099" y="2960"/>
                  </a:lnTo>
                  <a:lnTo>
                    <a:pt x="2987" y="3023"/>
                  </a:lnTo>
                  <a:lnTo>
                    <a:pt x="2931" y="3056"/>
                  </a:lnTo>
                  <a:lnTo>
                    <a:pt x="2877" y="3090"/>
                  </a:lnTo>
                  <a:lnTo>
                    <a:pt x="2822" y="3125"/>
                  </a:lnTo>
                  <a:lnTo>
                    <a:pt x="2767" y="3161"/>
                  </a:lnTo>
                  <a:lnTo>
                    <a:pt x="2713" y="3198"/>
                  </a:lnTo>
                  <a:lnTo>
                    <a:pt x="2659" y="3236"/>
                  </a:lnTo>
                  <a:lnTo>
                    <a:pt x="2605" y="3275"/>
                  </a:lnTo>
                  <a:lnTo>
                    <a:pt x="2553" y="3315"/>
                  </a:lnTo>
                  <a:lnTo>
                    <a:pt x="2501" y="3358"/>
                  </a:lnTo>
                  <a:lnTo>
                    <a:pt x="2449" y="3400"/>
                  </a:lnTo>
                  <a:lnTo>
                    <a:pt x="2398" y="3444"/>
                  </a:lnTo>
                  <a:lnTo>
                    <a:pt x="2348" y="3489"/>
                  </a:lnTo>
                  <a:lnTo>
                    <a:pt x="2299" y="3536"/>
                  </a:lnTo>
                  <a:lnTo>
                    <a:pt x="2250" y="3583"/>
                  </a:lnTo>
                  <a:lnTo>
                    <a:pt x="2217" y="3616"/>
                  </a:lnTo>
                  <a:lnTo>
                    <a:pt x="2184" y="3650"/>
                  </a:lnTo>
                  <a:lnTo>
                    <a:pt x="2150" y="3687"/>
                  </a:lnTo>
                  <a:lnTo>
                    <a:pt x="2116" y="3725"/>
                  </a:lnTo>
                  <a:lnTo>
                    <a:pt x="2081" y="3764"/>
                  </a:lnTo>
                  <a:lnTo>
                    <a:pt x="2046" y="3805"/>
                  </a:lnTo>
                  <a:lnTo>
                    <a:pt x="1973" y="3888"/>
                  </a:lnTo>
                  <a:lnTo>
                    <a:pt x="1901" y="3975"/>
                  </a:lnTo>
                  <a:lnTo>
                    <a:pt x="1829" y="4063"/>
                  </a:lnTo>
                  <a:lnTo>
                    <a:pt x="1759" y="4151"/>
                  </a:lnTo>
                  <a:lnTo>
                    <a:pt x="1690" y="4236"/>
                  </a:lnTo>
                  <a:lnTo>
                    <a:pt x="1657" y="4278"/>
                  </a:lnTo>
                  <a:lnTo>
                    <a:pt x="1625" y="4320"/>
                  </a:lnTo>
                  <a:lnTo>
                    <a:pt x="1593" y="4360"/>
                  </a:lnTo>
                  <a:lnTo>
                    <a:pt x="1563" y="4399"/>
                  </a:lnTo>
                  <a:lnTo>
                    <a:pt x="1533" y="4436"/>
                  </a:lnTo>
                  <a:lnTo>
                    <a:pt x="1505" y="4472"/>
                  </a:lnTo>
                  <a:lnTo>
                    <a:pt x="1478" y="4506"/>
                  </a:lnTo>
                  <a:lnTo>
                    <a:pt x="1453" y="4538"/>
                  </a:lnTo>
                  <a:lnTo>
                    <a:pt x="1429" y="4568"/>
                  </a:lnTo>
                  <a:lnTo>
                    <a:pt x="1407" y="4596"/>
                  </a:lnTo>
                  <a:lnTo>
                    <a:pt x="1387" y="4621"/>
                  </a:lnTo>
                  <a:lnTo>
                    <a:pt x="1369" y="4644"/>
                  </a:lnTo>
                  <a:lnTo>
                    <a:pt x="1352" y="4664"/>
                  </a:lnTo>
                  <a:lnTo>
                    <a:pt x="1338" y="4681"/>
                  </a:lnTo>
                  <a:lnTo>
                    <a:pt x="1325" y="4695"/>
                  </a:lnTo>
                  <a:lnTo>
                    <a:pt x="1315" y="4705"/>
                  </a:lnTo>
                  <a:lnTo>
                    <a:pt x="1315" y="4699"/>
                  </a:lnTo>
                  <a:lnTo>
                    <a:pt x="1315" y="4689"/>
                  </a:lnTo>
                  <a:lnTo>
                    <a:pt x="1315" y="4678"/>
                  </a:lnTo>
                  <a:lnTo>
                    <a:pt x="1315" y="4666"/>
                  </a:lnTo>
                  <a:lnTo>
                    <a:pt x="1315" y="4651"/>
                  </a:lnTo>
                  <a:lnTo>
                    <a:pt x="1316" y="4636"/>
                  </a:lnTo>
                  <a:lnTo>
                    <a:pt x="1316" y="4618"/>
                  </a:lnTo>
                  <a:lnTo>
                    <a:pt x="1316" y="4599"/>
                  </a:lnTo>
                  <a:lnTo>
                    <a:pt x="1316" y="4579"/>
                  </a:lnTo>
                  <a:lnTo>
                    <a:pt x="1317" y="4558"/>
                  </a:lnTo>
                  <a:lnTo>
                    <a:pt x="1317" y="4535"/>
                  </a:lnTo>
                  <a:lnTo>
                    <a:pt x="1318" y="4511"/>
                  </a:lnTo>
                  <a:lnTo>
                    <a:pt x="1320" y="4462"/>
                  </a:lnTo>
                  <a:lnTo>
                    <a:pt x="1322" y="4410"/>
                  </a:lnTo>
                  <a:lnTo>
                    <a:pt x="1325" y="4356"/>
                  </a:lnTo>
                  <a:lnTo>
                    <a:pt x="1329" y="4300"/>
                  </a:lnTo>
                  <a:lnTo>
                    <a:pt x="1334" y="4244"/>
                  </a:lnTo>
                  <a:lnTo>
                    <a:pt x="1341" y="4189"/>
                  </a:lnTo>
                  <a:lnTo>
                    <a:pt x="1348" y="4135"/>
                  </a:lnTo>
                  <a:lnTo>
                    <a:pt x="1356" y="4083"/>
                  </a:lnTo>
                  <a:lnTo>
                    <a:pt x="1366" y="4033"/>
                  </a:lnTo>
                  <a:lnTo>
                    <a:pt x="1372" y="4011"/>
                  </a:lnTo>
                  <a:lnTo>
                    <a:pt x="1378" y="3988"/>
                  </a:lnTo>
                  <a:lnTo>
                    <a:pt x="1398" y="3917"/>
                  </a:lnTo>
                  <a:lnTo>
                    <a:pt x="1421" y="3848"/>
                  </a:lnTo>
                  <a:lnTo>
                    <a:pt x="1447" y="3779"/>
                  </a:lnTo>
                  <a:lnTo>
                    <a:pt x="1474" y="3711"/>
                  </a:lnTo>
                  <a:lnTo>
                    <a:pt x="1503" y="3644"/>
                  </a:lnTo>
                  <a:lnTo>
                    <a:pt x="1534" y="3578"/>
                  </a:lnTo>
                  <a:lnTo>
                    <a:pt x="1566" y="3512"/>
                  </a:lnTo>
                  <a:lnTo>
                    <a:pt x="1600" y="3446"/>
                  </a:lnTo>
                  <a:lnTo>
                    <a:pt x="1634" y="3381"/>
                  </a:lnTo>
                  <a:lnTo>
                    <a:pt x="1670" y="3316"/>
                  </a:lnTo>
                  <a:lnTo>
                    <a:pt x="1743" y="3186"/>
                  </a:lnTo>
                  <a:lnTo>
                    <a:pt x="1820" y="3054"/>
                  </a:lnTo>
                  <a:lnTo>
                    <a:pt x="1897" y="2921"/>
                  </a:lnTo>
                  <a:lnTo>
                    <a:pt x="1780" y="2979"/>
                  </a:lnTo>
                  <a:lnTo>
                    <a:pt x="1665" y="3037"/>
                  </a:lnTo>
                  <a:lnTo>
                    <a:pt x="1547" y="3096"/>
                  </a:lnTo>
                  <a:lnTo>
                    <a:pt x="1487" y="3127"/>
                  </a:lnTo>
                  <a:lnTo>
                    <a:pt x="1425" y="3158"/>
                  </a:lnTo>
                  <a:lnTo>
                    <a:pt x="1363" y="3191"/>
                  </a:lnTo>
                  <a:lnTo>
                    <a:pt x="1298" y="3224"/>
                  </a:lnTo>
                  <a:lnTo>
                    <a:pt x="1232" y="3259"/>
                  </a:lnTo>
                  <a:lnTo>
                    <a:pt x="1164" y="3296"/>
                  </a:lnTo>
                  <a:lnTo>
                    <a:pt x="1093" y="3334"/>
                  </a:lnTo>
                  <a:lnTo>
                    <a:pt x="1020" y="3374"/>
                  </a:lnTo>
                  <a:lnTo>
                    <a:pt x="944" y="3415"/>
                  </a:lnTo>
                  <a:lnTo>
                    <a:pt x="865" y="3460"/>
                  </a:lnTo>
                  <a:lnTo>
                    <a:pt x="797" y="3496"/>
                  </a:lnTo>
                  <a:lnTo>
                    <a:pt x="731" y="3534"/>
                  </a:lnTo>
                  <a:lnTo>
                    <a:pt x="664" y="3573"/>
                  </a:lnTo>
                  <a:lnTo>
                    <a:pt x="600" y="3615"/>
                  </a:lnTo>
                  <a:lnTo>
                    <a:pt x="538" y="3658"/>
                  </a:lnTo>
                  <a:lnTo>
                    <a:pt x="477" y="3705"/>
                  </a:lnTo>
                  <a:lnTo>
                    <a:pt x="418" y="3754"/>
                  </a:lnTo>
                  <a:lnTo>
                    <a:pt x="362" y="3807"/>
                  </a:lnTo>
                  <a:lnTo>
                    <a:pt x="308" y="3862"/>
                  </a:lnTo>
                  <a:lnTo>
                    <a:pt x="259" y="3921"/>
                  </a:lnTo>
                  <a:lnTo>
                    <a:pt x="211" y="3984"/>
                  </a:lnTo>
                  <a:lnTo>
                    <a:pt x="190" y="4017"/>
                  </a:lnTo>
                  <a:lnTo>
                    <a:pt x="168" y="4051"/>
                  </a:lnTo>
                  <a:lnTo>
                    <a:pt x="148" y="4086"/>
                  </a:lnTo>
                  <a:lnTo>
                    <a:pt x="129" y="4122"/>
                  </a:lnTo>
                  <a:lnTo>
                    <a:pt x="111" y="4159"/>
                  </a:lnTo>
                  <a:lnTo>
                    <a:pt x="94" y="4197"/>
                  </a:lnTo>
                  <a:lnTo>
                    <a:pt x="78" y="4236"/>
                  </a:lnTo>
                  <a:lnTo>
                    <a:pt x="63" y="4277"/>
                  </a:lnTo>
                  <a:lnTo>
                    <a:pt x="49" y="4319"/>
                  </a:lnTo>
                  <a:lnTo>
                    <a:pt x="37" y="4362"/>
                  </a:lnTo>
                  <a:lnTo>
                    <a:pt x="29" y="4394"/>
                  </a:lnTo>
                  <a:lnTo>
                    <a:pt x="21" y="4425"/>
                  </a:lnTo>
                  <a:lnTo>
                    <a:pt x="15" y="4456"/>
                  </a:lnTo>
                  <a:lnTo>
                    <a:pt x="11" y="4485"/>
                  </a:lnTo>
                  <a:lnTo>
                    <a:pt x="3" y="4542"/>
                  </a:lnTo>
                  <a:lnTo>
                    <a:pt x="0" y="4597"/>
                  </a:lnTo>
                  <a:lnTo>
                    <a:pt x="0" y="4649"/>
                  </a:lnTo>
                  <a:lnTo>
                    <a:pt x="3" y="4699"/>
                  </a:lnTo>
                  <a:lnTo>
                    <a:pt x="9" y="4746"/>
                  </a:lnTo>
                  <a:lnTo>
                    <a:pt x="17" y="4790"/>
                  </a:lnTo>
                  <a:lnTo>
                    <a:pt x="30" y="4834"/>
                  </a:lnTo>
                  <a:lnTo>
                    <a:pt x="43" y="4874"/>
                  </a:lnTo>
                  <a:lnTo>
                    <a:pt x="59" y="4913"/>
                  </a:lnTo>
                  <a:lnTo>
                    <a:pt x="77" y="4949"/>
                  </a:lnTo>
                  <a:lnTo>
                    <a:pt x="96" y="4984"/>
                  </a:lnTo>
                  <a:lnTo>
                    <a:pt x="117" y="5018"/>
                  </a:lnTo>
                  <a:lnTo>
                    <a:pt x="139" y="5049"/>
                  </a:lnTo>
                  <a:lnTo>
                    <a:pt x="162" y="5079"/>
                  </a:lnTo>
                  <a:lnTo>
                    <a:pt x="165" y="5104"/>
                  </a:lnTo>
                  <a:lnTo>
                    <a:pt x="169" y="5128"/>
                  </a:lnTo>
                  <a:lnTo>
                    <a:pt x="173" y="5154"/>
                  </a:lnTo>
                  <a:lnTo>
                    <a:pt x="178" y="5182"/>
                  </a:lnTo>
                  <a:lnTo>
                    <a:pt x="191" y="5238"/>
                  </a:lnTo>
                  <a:lnTo>
                    <a:pt x="206" y="5298"/>
                  </a:lnTo>
                  <a:lnTo>
                    <a:pt x="225" y="5360"/>
                  </a:lnTo>
                  <a:lnTo>
                    <a:pt x="246" y="5424"/>
                  </a:lnTo>
                  <a:lnTo>
                    <a:pt x="272" y="5487"/>
                  </a:lnTo>
                  <a:lnTo>
                    <a:pt x="287" y="5519"/>
                  </a:lnTo>
                  <a:lnTo>
                    <a:pt x="302" y="5551"/>
                  </a:lnTo>
                  <a:lnTo>
                    <a:pt x="319" y="5581"/>
                  </a:lnTo>
                  <a:lnTo>
                    <a:pt x="336" y="5612"/>
                  </a:lnTo>
                  <a:lnTo>
                    <a:pt x="356" y="5643"/>
                  </a:lnTo>
                  <a:lnTo>
                    <a:pt x="375" y="5673"/>
                  </a:lnTo>
                  <a:lnTo>
                    <a:pt x="397" y="5702"/>
                  </a:lnTo>
                  <a:lnTo>
                    <a:pt x="420" y="5730"/>
                  </a:lnTo>
                  <a:lnTo>
                    <a:pt x="444" y="5758"/>
                  </a:lnTo>
                  <a:lnTo>
                    <a:pt x="468" y="5784"/>
                  </a:lnTo>
                  <a:lnTo>
                    <a:pt x="495" y="5810"/>
                  </a:lnTo>
                  <a:lnTo>
                    <a:pt x="523" y="5835"/>
                  </a:lnTo>
                  <a:lnTo>
                    <a:pt x="553" y="5858"/>
                  </a:lnTo>
                  <a:lnTo>
                    <a:pt x="584" y="5879"/>
                  </a:lnTo>
                  <a:lnTo>
                    <a:pt x="616" y="5900"/>
                  </a:lnTo>
                  <a:lnTo>
                    <a:pt x="650" y="5918"/>
                  </a:lnTo>
                  <a:lnTo>
                    <a:pt x="686" y="5936"/>
                  </a:lnTo>
                  <a:lnTo>
                    <a:pt x="723" y="5951"/>
                  </a:lnTo>
                  <a:lnTo>
                    <a:pt x="751" y="5963"/>
                  </a:lnTo>
                  <a:lnTo>
                    <a:pt x="779" y="5974"/>
                  </a:lnTo>
                  <a:lnTo>
                    <a:pt x="805" y="5983"/>
                  </a:lnTo>
                  <a:lnTo>
                    <a:pt x="830" y="5992"/>
                  </a:lnTo>
                  <a:lnTo>
                    <a:pt x="877" y="6009"/>
                  </a:lnTo>
                  <a:lnTo>
                    <a:pt x="922" y="6021"/>
                  </a:lnTo>
                  <a:lnTo>
                    <a:pt x="965" y="6032"/>
                  </a:lnTo>
                  <a:lnTo>
                    <a:pt x="1008" y="6039"/>
                  </a:lnTo>
                  <a:lnTo>
                    <a:pt x="1052" y="6043"/>
                  </a:lnTo>
                  <a:lnTo>
                    <a:pt x="1097" y="6045"/>
                  </a:lnTo>
                  <a:lnTo>
                    <a:pt x="1094" y="6086"/>
                  </a:lnTo>
                  <a:lnTo>
                    <a:pt x="1091" y="6129"/>
                  </a:lnTo>
                  <a:lnTo>
                    <a:pt x="1089" y="6173"/>
                  </a:lnTo>
                  <a:lnTo>
                    <a:pt x="1086" y="6218"/>
                  </a:lnTo>
                  <a:lnTo>
                    <a:pt x="1081" y="6311"/>
                  </a:lnTo>
                  <a:lnTo>
                    <a:pt x="1077" y="6408"/>
                  </a:lnTo>
                  <a:lnTo>
                    <a:pt x="1075" y="6507"/>
                  </a:lnTo>
                  <a:lnTo>
                    <a:pt x="1075" y="6609"/>
                  </a:lnTo>
                  <a:lnTo>
                    <a:pt x="1077" y="6714"/>
                  </a:lnTo>
                  <a:lnTo>
                    <a:pt x="1082" y="6821"/>
                  </a:lnTo>
                  <a:lnTo>
                    <a:pt x="1089" y="6928"/>
                  </a:lnTo>
                  <a:lnTo>
                    <a:pt x="1099" y="7035"/>
                  </a:lnTo>
                  <a:lnTo>
                    <a:pt x="1114" y="7143"/>
                  </a:lnTo>
                  <a:lnTo>
                    <a:pt x="1123" y="7197"/>
                  </a:lnTo>
                  <a:lnTo>
                    <a:pt x="1132" y="7250"/>
                  </a:lnTo>
                  <a:lnTo>
                    <a:pt x="1142" y="7304"/>
                  </a:lnTo>
                  <a:lnTo>
                    <a:pt x="1155" y="7356"/>
                  </a:lnTo>
                  <a:lnTo>
                    <a:pt x="1168" y="7410"/>
                  </a:lnTo>
                  <a:lnTo>
                    <a:pt x="1182" y="7461"/>
                  </a:lnTo>
                  <a:lnTo>
                    <a:pt x="1198" y="7514"/>
                  </a:lnTo>
                  <a:lnTo>
                    <a:pt x="1215" y="7564"/>
                  </a:lnTo>
                  <a:lnTo>
                    <a:pt x="1233" y="7616"/>
                  </a:lnTo>
                  <a:lnTo>
                    <a:pt x="1253" y="7665"/>
                  </a:lnTo>
                  <a:lnTo>
                    <a:pt x="1277" y="7727"/>
                  </a:lnTo>
                  <a:lnTo>
                    <a:pt x="1301" y="7789"/>
                  </a:lnTo>
                  <a:lnTo>
                    <a:pt x="1354" y="7912"/>
                  </a:lnTo>
                  <a:lnTo>
                    <a:pt x="1410" y="8037"/>
                  </a:lnTo>
                  <a:lnTo>
                    <a:pt x="1468" y="8161"/>
                  </a:lnTo>
                  <a:lnTo>
                    <a:pt x="1528" y="8282"/>
                  </a:lnTo>
                  <a:lnTo>
                    <a:pt x="1589" y="8402"/>
                  </a:lnTo>
                  <a:lnTo>
                    <a:pt x="1650" y="8518"/>
                  </a:lnTo>
                  <a:lnTo>
                    <a:pt x="1681" y="8576"/>
                  </a:lnTo>
                  <a:lnTo>
                    <a:pt x="1712" y="8631"/>
                  </a:lnTo>
                  <a:lnTo>
                    <a:pt x="1743" y="8686"/>
                  </a:lnTo>
                  <a:lnTo>
                    <a:pt x="1773" y="8741"/>
                  </a:lnTo>
                  <a:lnTo>
                    <a:pt x="1803" y="8793"/>
                  </a:lnTo>
                  <a:lnTo>
                    <a:pt x="1833" y="8844"/>
                  </a:lnTo>
                  <a:lnTo>
                    <a:pt x="1862" y="8893"/>
                  </a:lnTo>
                  <a:lnTo>
                    <a:pt x="1890" y="8941"/>
                  </a:lnTo>
                  <a:lnTo>
                    <a:pt x="1918" y="8988"/>
                  </a:lnTo>
                  <a:lnTo>
                    <a:pt x="1946" y="9033"/>
                  </a:lnTo>
                  <a:lnTo>
                    <a:pt x="1971" y="9075"/>
                  </a:lnTo>
                  <a:lnTo>
                    <a:pt x="1997" y="9117"/>
                  </a:lnTo>
                  <a:lnTo>
                    <a:pt x="2021" y="9156"/>
                  </a:lnTo>
                  <a:lnTo>
                    <a:pt x="2045" y="9193"/>
                  </a:lnTo>
                  <a:lnTo>
                    <a:pt x="2066" y="9227"/>
                  </a:lnTo>
                  <a:lnTo>
                    <a:pt x="2088" y="9260"/>
                  </a:lnTo>
                  <a:lnTo>
                    <a:pt x="2108" y="9290"/>
                  </a:lnTo>
                  <a:lnTo>
                    <a:pt x="2125" y="9317"/>
                  </a:lnTo>
                  <a:lnTo>
                    <a:pt x="2121" y="9342"/>
                  </a:lnTo>
                  <a:lnTo>
                    <a:pt x="2115" y="9371"/>
                  </a:lnTo>
                  <a:lnTo>
                    <a:pt x="2108" y="9404"/>
                  </a:lnTo>
                  <a:lnTo>
                    <a:pt x="2099" y="9439"/>
                  </a:lnTo>
                  <a:lnTo>
                    <a:pt x="2089" y="9477"/>
                  </a:lnTo>
                  <a:lnTo>
                    <a:pt x="2078" y="9518"/>
                  </a:lnTo>
                  <a:lnTo>
                    <a:pt x="2065" y="9562"/>
                  </a:lnTo>
                  <a:lnTo>
                    <a:pt x="2052" y="9607"/>
                  </a:lnTo>
                  <a:lnTo>
                    <a:pt x="2037" y="9653"/>
                  </a:lnTo>
                  <a:lnTo>
                    <a:pt x="2023" y="9703"/>
                  </a:lnTo>
                  <a:lnTo>
                    <a:pt x="2008" y="9752"/>
                  </a:lnTo>
                  <a:lnTo>
                    <a:pt x="1991" y="9804"/>
                  </a:lnTo>
                  <a:lnTo>
                    <a:pt x="1958" y="9908"/>
                  </a:lnTo>
                  <a:lnTo>
                    <a:pt x="1925" y="10014"/>
                  </a:lnTo>
                  <a:lnTo>
                    <a:pt x="1893" y="10119"/>
                  </a:lnTo>
                  <a:lnTo>
                    <a:pt x="1876" y="10170"/>
                  </a:lnTo>
                  <a:lnTo>
                    <a:pt x="1862" y="10221"/>
                  </a:lnTo>
                  <a:lnTo>
                    <a:pt x="1848" y="10270"/>
                  </a:lnTo>
                  <a:lnTo>
                    <a:pt x="1833" y="10319"/>
                  </a:lnTo>
                  <a:lnTo>
                    <a:pt x="1821" y="10365"/>
                  </a:lnTo>
                  <a:lnTo>
                    <a:pt x="1808" y="10409"/>
                  </a:lnTo>
                  <a:lnTo>
                    <a:pt x="1797" y="10452"/>
                  </a:lnTo>
                  <a:lnTo>
                    <a:pt x="1788" y="10492"/>
                  </a:lnTo>
                  <a:lnTo>
                    <a:pt x="1779" y="10528"/>
                  </a:lnTo>
                  <a:lnTo>
                    <a:pt x="1773" y="10562"/>
                  </a:lnTo>
                  <a:lnTo>
                    <a:pt x="1768" y="10593"/>
                  </a:lnTo>
                  <a:lnTo>
                    <a:pt x="1764" y="10620"/>
                  </a:lnTo>
                  <a:lnTo>
                    <a:pt x="1763" y="10644"/>
                  </a:lnTo>
                  <a:lnTo>
                    <a:pt x="1763" y="10654"/>
                  </a:lnTo>
                  <a:lnTo>
                    <a:pt x="1763" y="10664"/>
                  </a:lnTo>
                  <a:lnTo>
                    <a:pt x="1766" y="10683"/>
                  </a:lnTo>
                  <a:lnTo>
                    <a:pt x="1772" y="10704"/>
                  </a:lnTo>
                  <a:lnTo>
                    <a:pt x="1780" y="10724"/>
                  </a:lnTo>
                  <a:lnTo>
                    <a:pt x="1792" y="10745"/>
                  </a:lnTo>
                  <a:lnTo>
                    <a:pt x="1805" y="10766"/>
                  </a:lnTo>
                  <a:lnTo>
                    <a:pt x="1822" y="10786"/>
                  </a:lnTo>
                  <a:lnTo>
                    <a:pt x="1840" y="10807"/>
                  </a:lnTo>
                  <a:lnTo>
                    <a:pt x="1861" y="10829"/>
                  </a:lnTo>
                  <a:lnTo>
                    <a:pt x="1884" y="10849"/>
                  </a:lnTo>
                  <a:lnTo>
                    <a:pt x="1909" y="10870"/>
                  </a:lnTo>
                  <a:lnTo>
                    <a:pt x="1936" y="10891"/>
                  </a:lnTo>
                  <a:lnTo>
                    <a:pt x="1966" y="10912"/>
                  </a:lnTo>
                  <a:lnTo>
                    <a:pt x="1997" y="10933"/>
                  </a:lnTo>
                  <a:lnTo>
                    <a:pt x="2030" y="10954"/>
                  </a:lnTo>
                  <a:lnTo>
                    <a:pt x="2065" y="10975"/>
                  </a:lnTo>
                  <a:lnTo>
                    <a:pt x="2101" y="10995"/>
                  </a:lnTo>
                  <a:lnTo>
                    <a:pt x="2140" y="11015"/>
                  </a:lnTo>
                  <a:lnTo>
                    <a:pt x="2179" y="11036"/>
                  </a:lnTo>
                  <a:lnTo>
                    <a:pt x="2219" y="11055"/>
                  </a:lnTo>
                  <a:lnTo>
                    <a:pt x="2261" y="11076"/>
                  </a:lnTo>
                  <a:lnTo>
                    <a:pt x="2305" y="11095"/>
                  </a:lnTo>
                  <a:lnTo>
                    <a:pt x="2349" y="11114"/>
                  </a:lnTo>
                  <a:lnTo>
                    <a:pt x="2395" y="11133"/>
                  </a:lnTo>
                  <a:lnTo>
                    <a:pt x="2441" y="11152"/>
                  </a:lnTo>
                  <a:lnTo>
                    <a:pt x="2536" y="11188"/>
                  </a:lnTo>
                  <a:lnTo>
                    <a:pt x="2634" y="11223"/>
                  </a:lnTo>
                  <a:lnTo>
                    <a:pt x="2734" y="11256"/>
                  </a:lnTo>
                  <a:lnTo>
                    <a:pt x="2836" y="11287"/>
                  </a:lnTo>
                  <a:lnTo>
                    <a:pt x="2939" y="11316"/>
                  </a:lnTo>
                  <a:lnTo>
                    <a:pt x="3041" y="11342"/>
                  </a:lnTo>
                  <a:lnTo>
                    <a:pt x="3143" y="11367"/>
                  </a:lnTo>
                  <a:lnTo>
                    <a:pt x="3243" y="11389"/>
                  </a:lnTo>
                  <a:lnTo>
                    <a:pt x="3341" y="11407"/>
                  </a:lnTo>
                  <a:lnTo>
                    <a:pt x="3437" y="11424"/>
                  </a:lnTo>
                  <a:lnTo>
                    <a:pt x="3529" y="11436"/>
                  </a:lnTo>
                  <a:lnTo>
                    <a:pt x="3574" y="11441"/>
                  </a:lnTo>
                  <a:lnTo>
                    <a:pt x="3618" y="11445"/>
                  </a:lnTo>
                  <a:lnTo>
                    <a:pt x="3660" y="11449"/>
                  </a:lnTo>
                  <a:lnTo>
                    <a:pt x="3702" y="11452"/>
                  </a:lnTo>
                  <a:lnTo>
                    <a:pt x="3741" y="11453"/>
                  </a:lnTo>
                  <a:lnTo>
                    <a:pt x="3779" y="11453"/>
                  </a:lnTo>
                  <a:lnTo>
                    <a:pt x="3816" y="11453"/>
                  </a:lnTo>
                  <a:lnTo>
                    <a:pt x="3851" y="11452"/>
                  </a:lnTo>
                  <a:lnTo>
                    <a:pt x="3884" y="11449"/>
                  </a:lnTo>
                  <a:lnTo>
                    <a:pt x="3916" y="11445"/>
                  </a:lnTo>
                  <a:lnTo>
                    <a:pt x="3946" y="11440"/>
                  </a:lnTo>
                  <a:lnTo>
                    <a:pt x="3974" y="11435"/>
                  </a:lnTo>
                  <a:lnTo>
                    <a:pt x="4000" y="11428"/>
                  </a:lnTo>
                  <a:lnTo>
                    <a:pt x="4024" y="11420"/>
                  </a:lnTo>
                  <a:lnTo>
                    <a:pt x="4045" y="11410"/>
                  </a:lnTo>
                  <a:lnTo>
                    <a:pt x="4064" y="11400"/>
                  </a:lnTo>
                  <a:lnTo>
                    <a:pt x="4080" y="11389"/>
                  </a:lnTo>
                  <a:lnTo>
                    <a:pt x="4095" y="11376"/>
                  </a:lnTo>
                  <a:lnTo>
                    <a:pt x="4122" y="11347"/>
                  </a:lnTo>
                  <a:lnTo>
                    <a:pt x="4147" y="11317"/>
                  </a:lnTo>
                  <a:lnTo>
                    <a:pt x="4170" y="11287"/>
                  </a:lnTo>
                  <a:lnTo>
                    <a:pt x="4192" y="11256"/>
                  </a:lnTo>
                  <a:lnTo>
                    <a:pt x="4213" y="11224"/>
                  </a:lnTo>
                  <a:lnTo>
                    <a:pt x="4232" y="11192"/>
                  </a:lnTo>
                  <a:lnTo>
                    <a:pt x="4250" y="11159"/>
                  </a:lnTo>
                  <a:lnTo>
                    <a:pt x="4266" y="11126"/>
                  </a:lnTo>
                  <a:lnTo>
                    <a:pt x="4282" y="11093"/>
                  </a:lnTo>
                  <a:lnTo>
                    <a:pt x="4296" y="11060"/>
                  </a:lnTo>
                  <a:lnTo>
                    <a:pt x="4309" y="11027"/>
                  </a:lnTo>
                  <a:lnTo>
                    <a:pt x="4321" y="10994"/>
                  </a:lnTo>
                  <a:lnTo>
                    <a:pt x="4331" y="10961"/>
                  </a:lnTo>
                  <a:lnTo>
                    <a:pt x="4341" y="10928"/>
                  </a:lnTo>
                  <a:lnTo>
                    <a:pt x="4358" y="10862"/>
                  </a:lnTo>
                  <a:lnTo>
                    <a:pt x="4371" y="10799"/>
                  </a:lnTo>
                  <a:lnTo>
                    <a:pt x="4381" y="10737"/>
                  </a:lnTo>
                  <a:lnTo>
                    <a:pt x="4389" y="10677"/>
                  </a:lnTo>
                  <a:lnTo>
                    <a:pt x="4394" y="10621"/>
                  </a:lnTo>
                  <a:lnTo>
                    <a:pt x="4396" y="10595"/>
                  </a:lnTo>
                  <a:lnTo>
                    <a:pt x="4397" y="10569"/>
                  </a:lnTo>
                  <a:lnTo>
                    <a:pt x="4398" y="10544"/>
                  </a:lnTo>
                  <a:lnTo>
                    <a:pt x="4399" y="10521"/>
                  </a:lnTo>
                  <a:lnTo>
                    <a:pt x="4400" y="10498"/>
                  </a:lnTo>
                  <a:lnTo>
                    <a:pt x="4400" y="10477"/>
                  </a:lnTo>
                  <a:lnTo>
                    <a:pt x="4400" y="10458"/>
                  </a:lnTo>
                  <a:lnTo>
                    <a:pt x="4400" y="10439"/>
                  </a:lnTo>
                  <a:lnTo>
                    <a:pt x="4400" y="10376"/>
                  </a:lnTo>
                  <a:lnTo>
                    <a:pt x="4405" y="10369"/>
                  </a:lnTo>
                  <a:lnTo>
                    <a:pt x="4410" y="10359"/>
                  </a:lnTo>
                  <a:lnTo>
                    <a:pt x="4416" y="10346"/>
                  </a:lnTo>
                  <a:lnTo>
                    <a:pt x="4423" y="10332"/>
                  </a:lnTo>
                  <a:lnTo>
                    <a:pt x="4431" y="10315"/>
                  </a:lnTo>
                  <a:lnTo>
                    <a:pt x="4441" y="10295"/>
                  </a:lnTo>
                  <a:lnTo>
                    <a:pt x="4451" y="10274"/>
                  </a:lnTo>
                  <a:lnTo>
                    <a:pt x="4462" y="10251"/>
                  </a:lnTo>
                  <a:lnTo>
                    <a:pt x="4474" y="10227"/>
                  </a:lnTo>
                  <a:lnTo>
                    <a:pt x="4487" y="10200"/>
                  </a:lnTo>
                  <a:lnTo>
                    <a:pt x="4500" y="10173"/>
                  </a:lnTo>
                  <a:lnTo>
                    <a:pt x="4513" y="10146"/>
                  </a:lnTo>
                  <a:lnTo>
                    <a:pt x="4540" y="10087"/>
                  </a:lnTo>
                  <a:lnTo>
                    <a:pt x="4568" y="10026"/>
                  </a:lnTo>
                  <a:lnTo>
                    <a:pt x="4596" y="9964"/>
                  </a:lnTo>
                  <a:lnTo>
                    <a:pt x="4621" y="9904"/>
                  </a:lnTo>
                  <a:lnTo>
                    <a:pt x="4646" y="9845"/>
                  </a:lnTo>
                  <a:lnTo>
                    <a:pt x="4658" y="9817"/>
                  </a:lnTo>
                  <a:lnTo>
                    <a:pt x="4668" y="9789"/>
                  </a:lnTo>
                  <a:lnTo>
                    <a:pt x="4677" y="9763"/>
                  </a:lnTo>
                  <a:lnTo>
                    <a:pt x="4686" y="9739"/>
                  </a:lnTo>
                  <a:lnTo>
                    <a:pt x="4694" y="9716"/>
                  </a:lnTo>
                  <a:lnTo>
                    <a:pt x="4700" y="9694"/>
                  </a:lnTo>
                  <a:lnTo>
                    <a:pt x="4705" y="9675"/>
                  </a:lnTo>
                  <a:lnTo>
                    <a:pt x="4709" y="9657"/>
                  </a:lnTo>
                  <a:lnTo>
                    <a:pt x="4711" y="9642"/>
                  </a:lnTo>
                  <a:lnTo>
                    <a:pt x="4712" y="9628"/>
                  </a:lnTo>
                  <a:lnTo>
                    <a:pt x="4713" y="9604"/>
                  </a:lnTo>
                  <a:lnTo>
                    <a:pt x="4717" y="9576"/>
                  </a:lnTo>
                  <a:lnTo>
                    <a:pt x="4722" y="9546"/>
                  </a:lnTo>
                  <a:lnTo>
                    <a:pt x="4728" y="9512"/>
                  </a:lnTo>
                  <a:lnTo>
                    <a:pt x="4734" y="9476"/>
                  </a:lnTo>
                  <a:lnTo>
                    <a:pt x="4739" y="9436"/>
                  </a:lnTo>
                  <a:lnTo>
                    <a:pt x="4742" y="9394"/>
                  </a:lnTo>
                  <a:lnTo>
                    <a:pt x="4743" y="9348"/>
                  </a:lnTo>
                  <a:lnTo>
                    <a:pt x="4779" y="9366"/>
                  </a:lnTo>
                  <a:lnTo>
                    <a:pt x="4816" y="9382"/>
                  </a:lnTo>
                  <a:lnTo>
                    <a:pt x="4855" y="9398"/>
                  </a:lnTo>
                  <a:lnTo>
                    <a:pt x="4894" y="9412"/>
                  </a:lnTo>
                  <a:lnTo>
                    <a:pt x="4935" y="9426"/>
                  </a:lnTo>
                  <a:lnTo>
                    <a:pt x="4976" y="9439"/>
                  </a:lnTo>
                  <a:lnTo>
                    <a:pt x="5020" y="9450"/>
                  </a:lnTo>
                  <a:lnTo>
                    <a:pt x="5063" y="9462"/>
                  </a:lnTo>
                  <a:lnTo>
                    <a:pt x="5107" y="9471"/>
                  </a:lnTo>
                  <a:lnTo>
                    <a:pt x="5152" y="9479"/>
                  </a:lnTo>
                  <a:lnTo>
                    <a:pt x="5197" y="9486"/>
                  </a:lnTo>
                  <a:lnTo>
                    <a:pt x="5243" y="9493"/>
                  </a:lnTo>
                  <a:lnTo>
                    <a:pt x="5289" y="9498"/>
                  </a:lnTo>
                  <a:lnTo>
                    <a:pt x="5336" y="9502"/>
                  </a:lnTo>
                  <a:lnTo>
                    <a:pt x="5382" y="9504"/>
                  </a:lnTo>
                  <a:lnTo>
                    <a:pt x="5429" y="9504"/>
                  </a:lnTo>
                  <a:lnTo>
                    <a:pt x="5406" y="9540"/>
                  </a:lnTo>
                  <a:lnTo>
                    <a:pt x="5382" y="9575"/>
                  </a:lnTo>
                  <a:lnTo>
                    <a:pt x="5361" y="9613"/>
                  </a:lnTo>
                  <a:lnTo>
                    <a:pt x="5340" y="9652"/>
                  </a:lnTo>
                  <a:lnTo>
                    <a:pt x="5320" y="9694"/>
                  </a:lnTo>
                  <a:lnTo>
                    <a:pt x="5311" y="9717"/>
                  </a:lnTo>
                  <a:lnTo>
                    <a:pt x="5302" y="9741"/>
                  </a:lnTo>
                  <a:lnTo>
                    <a:pt x="5293" y="9765"/>
                  </a:lnTo>
                  <a:lnTo>
                    <a:pt x="5286" y="9791"/>
                  </a:lnTo>
                  <a:lnTo>
                    <a:pt x="5279" y="9819"/>
                  </a:lnTo>
                  <a:lnTo>
                    <a:pt x="5273" y="9847"/>
                  </a:lnTo>
                  <a:lnTo>
                    <a:pt x="5269" y="9894"/>
                  </a:lnTo>
                  <a:lnTo>
                    <a:pt x="5268" y="9942"/>
                  </a:lnTo>
                  <a:lnTo>
                    <a:pt x="5270" y="9991"/>
                  </a:lnTo>
                  <a:lnTo>
                    <a:pt x="5274" y="10041"/>
                  </a:lnTo>
                  <a:lnTo>
                    <a:pt x="5282" y="10091"/>
                  </a:lnTo>
                  <a:lnTo>
                    <a:pt x="5294" y="10142"/>
                  </a:lnTo>
                  <a:lnTo>
                    <a:pt x="5309" y="10195"/>
                  </a:lnTo>
                  <a:lnTo>
                    <a:pt x="5327" y="10249"/>
                  </a:lnTo>
                  <a:lnTo>
                    <a:pt x="5350" y="10303"/>
                  </a:lnTo>
                  <a:lnTo>
                    <a:pt x="5376" y="10359"/>
                  </a:lnTo>
                  <a:lnTo>
                    <a:pt x="5406" y="10415"/>
                  </a:lnTo>
                  <a:lnTo>
                    <a:pt x="5440" y="10473"/>
                  </a:lnTo>
                  <a:lnTo>
                    <a:pt x="5477" y="10533"/>
                  </a:lnTo>
                  <a:lnTo>
                    <a:pt x="5498" y="10564"/>
                  </a:lnTo>
                  <a:lnTo>
                    <a:pt x="5519" y="10594"/>
                  </a:lnTo>
                  <a:lnTo>
                    <a:pt x="5542" y="10625"/>
                  </a:lnTo>
                  <a:lnTo>
                    <a:pt x="5565" y="10656"/>
                  </a:lnTo>
                  <a:lnTo>
                    <a:pt x="5590" y="10687"/>
                  </a:lnTo>
                  <a:lnTo>
                    <a:pt x="5616" y="10719"/>
                  </a:lnTo>
                  <a:lnTo>
                    <a:pt x="5651" y="10763"/>
                  </a:lnTo>
                  <a:lnTo>
                    <a:pt x="5685" y="10805"/>
                  </a:lnTo>
                  <a:lnTo>
                    <a:pt x="5718" y="10846"/>
                  </a:lnTo>
                  <a:lnTo>
                    <a:pt x="5751" y="10886"/>
                  </a:lnTo>
                  <a:lnTo>
                    <a:pt x="5783" y="10924"/>
                  </a:lnTo>
                  <a:lnTo>
                    <a:pt x="5815" y="10962"/>
                  </a:lnTo>
                  <a:lnTo>
                    <a:pt x="5846" y="10998"/>
                  </a:lnTo>
                  <a:lnTo>
                    <a:pt x="5877" y="11033"/>
                  </a:lnTo>
                  <a:lnTo>
                    <a:pt x="5907" y="11067"/>
                  </a:lnTo>
                  <a:lnTo>
                    <a:pt x="5937" y="11100"/>
                  </a:lnTo>
                  <a:lnTo>
                    <a:pt x="5966" y="11131"/>
                  </a:lnTo>
                  <a:lnTo>
                    <a:pt x="5995" y="11162"/>
                  </a:lnTo>
                  <a:lnTo>
                    <a:pt x="6024" y="11190"/>
                  </a:lnTo>
                  <a:lnTo>
                    <a:pt x="6053" y="11218"/>
                  </a:lnTo>
                  <a:lnTo>
                    <a:pt x="6082" y="11244"/>
                  </a:lnTo>
                  <a:lnTo>
                    <a:pt x="6111" y="11269"/>
                  </a:lnTo>
                  <a:lnTo>
                    <a:pt x="6139" y="11292"/>
                  </a:lnTo>
                  <a:lnTo>
                    <a:pt x="6168" y="11315"/>
                  </a:lnTo>
                  <a:lnTo>
                    <a:pt x="6196" y="11335"/>
                  </a:lnTo>
                  <a:lnTo>
                    <a:pt x="6225" y="11354"/>
                  </a:lnTo>
                  <a:lnTo>
                    <a:pt x="6252" y="11372"/>
                  </a:lnTo>
                  <a:lnTo>
                    <a:pt x="6281" y="11388"/>
                  </a:lnTo>
                  <a:lnTo>
                    <a:pt x="6310" y="11403"/>
                  </a:lnTo>
                  <a:lnTo>
                    <a:pt x="6339" y="11417"/>
                  </a:lnTo>
                  <a:lnTo>
                    <a:pt x="6368" y="11428"/>
                  </a:lnTo>
                  <a:lnTo>
                    <a:pt x="6398" y="11438"/>
                  </a:lnTo>
                  <a:lnTo>
                    <a:pt x="6427" y="11448"/>
                  </a:lnTo>
                  <a:lnTo>
                    <a:pt x="6458" y="11455"/>
                  </a:lnTo>
                  <a:lnTo>
                    <a:pt x="6488" y="11460"/>
                  </a:lnTo>
                  <a:lnTo>
                    <a:pt x="6519" y="11464"/>
                  </a:lnTo>
                  <a:lnTo>
                    <a:pt x="6550" y="11466"/>
                  </a:lnTo>
                  <a:lnTo>
                    <a:pt x="6582" y="11467"/>
                  </a:lnTo>
                  <a:lnTo>
                    <a:pt x="6628" y="11466"/>
                  </a:lnTo>
                  <a:lnTo>
                    <a:pt x="6674" y="11460"/>
                  </a:lnTo>
                  <a:lnTo>
                    <a:pt x="6719" y="11452"/>
                  </a:lnTo>
                  <a:lnTo>
                    <a:pt x="6763" y="11440"/>
                  </a:lnTo>
                  <a:lnTo>
                    <a:pt x="6807" y="11427"/>
                  </a:lnTo>
                  <a:lnTo>
                    <a:pt x="6849" y="11410"/>
                  </a:lnTo>
                  <a:lnTo>
                    <a:pt x="6891" y="11391"/>
                  </a:lnTo>
                  <a:lnTo>
                    <a:pt x="6933" y="11370"/>
                  </a:lnTo>
                  <a:lnTo>
                    <a:pt x="6973" y="11348"/>
                  </a:lnTo>
                  <a:lnTo>
                    <a:pt x="7013" y="11323"/>
                  </a:lnTo>
                  <a:lnTo>
                    <a:pt x="7052" y="11297"/>
                  </a:lnTo>
                  <a:lnTo>
                    <a:pt x="7091" y="11270"/>
                  </a:lnTo>
                  <a:lnTo>
                    <a:pt x="7165" y="11214"/>
                  </a:lnTo>
                  <a:lnTo>
                    <a:pt x="7236" y="11156"/>
                  </a:lnTo>
                  <a:lnTo>
                    <a:pt x="7271" y="11131"/>
                  </a:lnTo>
                  <a:lnTo>
                    <a:pt x="7306" y="11105"/>
                  </a:lnTo>
                  <a:lnTo>
                    <a:pt x="7342" y="11076"/>
                  </a:lnTo>
                  <a:lnTo>
                    <a:pt x="7377" y="11047"/>
                  </a:lnTo>
                  <a:lnTo>
                    <a:pt x="7412" y="11018"/>
                  </a:lnTo>
                  <a:lnTo>
                    <a:pt x="7447" y="10989"/>
                  </a:lnTo>
                  <a:lnTo>
                    <a:pt x="7482" y="10962"/>
                  </a:lnTo>
                  <a:lnTo>
                    <a:pt x="7517" y="10938"/>
                  </a:lnTo>
                  <a:lnTo>
                    <a:pt x="7658" y="10820"/>
                  </a:lnTo>
                  <a:lnTo>
                    <a:pt x="7802" y="10703"/>
                  </a:lnTo>
                  <a:lnTo>
                    <a:pt x="7944" y="10583"/>
                  </a:lnTo>
                  <a:lnTo>
                    <a:pt x="8086" y="10462"/>
                  </a:lnTo>
                  <a:lnTo>
                    <a:pt x="8156" y="10401"/>
                  </a:lnTo>
                  <a:lnTo>
                    <a:pt x="8224" y="10338"/>
                  </a:lnTo>
                  <a:lnTo>
                    <a:pt x="8292" y="10274"/>
                  </a:lnTo>
                  <a:lnTo>
                    <a:pt x="8358" y="10210"/>
                  </a:lnTo>
                  <a:lnTo>
                    <a:pt x="8423" y="10145"/>
                  </a:lnTo>
                  <a:lnTo>
                    <a:pt x="8487" y="10078"/>
                  </a:lnTo>
                  <a:lnTo>
                    <a:pt x="8548" y="10010"/>
                  </a:lnTo>
                  <a:lnTo>
                    <a:pt x="8608" y="9941"/>
                  </a:lnTo>
                  <a:lnTo>
                    <a:pt x="8623" y="9921"/>
                  </a:lnTo>
                  <a:lnTo>
                    <a:pt x="8638" y="9900"/>
                  </a:lnTo>
                  <a:lnTo>
                    <a:pt x="8653" y="9878"/>
                  </a:lnTo>
                  <a:lnTo>
                    <a:pt x="8668" y="9855"/>
                  </a:lnTo>
                  <a:lnTo>
                    <a:pt x="8685" y="9831"/>
                  </a:lnTo>
                  <a:lnTo>
                    <a:pt x="8700" y="9807"/>
                  </a:lnTo>
                  <a:lnTo>
                    <a:pt x="8733" y="9754"/>
                  </a:lnTo>
                  <a:lnTo>
                    <a:pt x="8766" y="9698"/>
                  </a:lnTo>
                  <a:lnTo>
                    <a:pt x="8799" y="9638"/>
                  </a:lnTo>
                  <a:lnTo>
                    <a:pt x="8834" y="9575"/>
                  </a:lnTo>
                  <a:lnTo>
                    <a:pt x="8868" y="9510"/>
                  </a:lnTo>
                  <a:lnTo>
                    <a:pt x="8903" y="9442"/>
                  </a:lnTo>
                  <a:lnTo>
                    <a:pt x="8939" y="9372"/>
                  </a:lnTo>
                  <a:lnTo>
                    <a:pt x="8975" y="9300"/>
                  </a:lnTo>
                  <a:lnTo>
                    <a:pt x="9010" y="9227"/>
                  </a:lnTo>
                  <a:lnTo>
                    <a:pt x="9045" y="9153"/>
                  </a:lnTo>
                  <a:lnTo>
                    <a:pt x="9080" y="9076"/>
                  </a:lnTo>
                  <a:lnTo>
                    <a:pt x="9149" y="8924"/>
                  </a:lnTo>
                  <a:lnTo>
                    <a:pt x="9217" y="8770"/>
                  </a:lnTo>
                  <a:lnTo>
                    <a:pt x="9250" y="8694"/>
                  </a:lnTo>
                  <a:lnTo>
                    <a:pt x="9282" y="8619"/>
                  </a:lnTo>
                  <a:lnTo>
                    <a:pt x="9313" y="8545"/>
                  </a:lnTo>
                  <a:lnTo>
                    <a:pt x="9343" y="8473"/>
                  </a:lnTo>
                  <a:lnTo>
                    <a:pt x="9373" y="8402"/>
                  </a:lnTo>
                  <a:lnTo>
                    <a:pt x="9401" y="8333"/>
                  </a:lnTo>
                  <a:lnTo>
                    <a:pt x="9428" y="8266"/>
                  </a:lnTo>
                  <a:lnTo>
                    <a:pt x="9454" y="8201"/>
                  </a:lnTo>
                  <a:lnTo>
                    <a:pt x="9477" y="8139"/>
                  </a:lnTo>
                  <a:lnTo>
                    <a:pt x="9500" y="8081"/>
                  </a:lnTo>
                  <a:lnTo>
                    <a:pt x="9522" y="8026"/>
                  </a:lnTo>
                  <a:lnTo>
                    <a:pt x="9540" y="7974"/>
                  </a:lnTo>
                  <a:lnTo>
                    <a:pt x="9550" y="7951"/>
                  </a:lnTo>
                  <a:lnTo>
                    <a:pt x="9558" y="7927"/>
                  </a:lnTo>
                  <a:lnTo>
                    <a:pt x="9566" y="7905"/>
                  </a:lnTo>
                  <a:lnTo>
                    <a:pt x="9573" y="7884"/>
                  </a:lnTo>
                  <a:lnTo>
                    <a:pt x="9644" y="7942"/>
                  </a:lnTo>
                  <a:lnTo>
                    <a:pt x="9714" y="7999"/>
                  </a:lnTo>
                  <a:lnTo>
                    <a:pt x="9784" y="8055"/>
                  </a:lnTo>
                  <a:lnTo>
                    <a:pt x="9819" y="8080"/>
                  </a:lnTo>
                  <a:lnTo>
                    <a:pt x="9854" y="8106"/>
                  </a:lnTo>
                  <a:lnTo>
                    <a:pt x="9889" y="8130"/>
                  </a:lnTo>
                  <a:lnTo>
                    <a:pt x="9924" y="8153"/>
                  </a:lnTo>
                  <a:lnTo>
                    <a:pt x="9960" y="8175"/>
                  </a:lnTo>
                  <a:lnTo>
                    <a:pt x="9995" y="8195"/>
                  </a:lnTo>
                  <a:lnTo>
                    <a:pt x="10030" y="8213"/>
                  </a:lnTo>
                  <a:lnTo>
                    <a:pt x="10065" y="8231"/>
                  </a:lnTo>
                  <a:lnTo>
                    <a:pt x="10100" y="8245"/>
                  </a:lnTo>
                  <a:lnTo>
                    <a:pt x="10135" y="8258"/>
                  </a:lnTo>
                  <a:lnTo>
                    <a:pt x="10205" y="8281"/>
                  </a:lnTo>
                  <a:lnTo>
                    <a:pt x="10274" y="8304"/>
                  </a:lnTo>
                  <a:lnTo>
                    <a:pt x="10344" y="8324"/>
                  </a:lnTo>
                  <a:lnTo>
                    <a:pt x="10412" y="8343"/>
                  </a:lnTo>
                  <a:lnTo>
                    <a:pt x="10478" y="8359"/>
                  </a:lnTo>
                  <a:lnTo>
                    <a:pt x="10511" y="8366"/>
                  </a:lnTo>
                  <a:lnTo>
                    <a:pt x="10543" y="8372"/>
                  </a:lnTo>
                  <a:lnTo>
                    <a:pt x="10574" y="8376"/>
                  </a:lnTo>
                  <a:lnTo>
                    <a:pt x="10605" y="8380"/>
                  </a:lnTo>
                  <a:lnTo>
                    <a:pt x="10636" y="8382"/>
                  </a:lnTo>
                  <a:lnTo>
                    <a:pt x="10665" y="8382"/>
                  </a:lnTo>
                  <a:lnTo>
                    <a:pt x="10706" y="8382"/>
                  </a:lnTo>
                  <a:lnTo>
                    <a:pt x="10745" y="8380"/>
                  </a:lnTo>
                  <a:lnTo>
                    <a:pt x="10785" y="8377"/>
                  </a:lnTo>
                  <a:lnTo>
                    <a:pt x="10825" y="8372"/>
                  </a:lnTo>
                  <a:lnTo>
                    <a:pt x="10863" y="8367"/>
                  </a:lnTo>
                  <a:lnTo>
                    <a:pt x="10901" y="8359"/>
                  </a:lnTo>
                  <a:lnTo>
                    <a:pt x="10938" y="8351"/>
                  </a:lnTo>
                  <a:lnTo>
                    <a:pt x="10975" y="8342"/>
                  </a:lnTo>
                  <a:lnTo>
                    <a:pt x="11011" y="8331"/>
                  </a:lnTo>
                  <a:lnTo>
                    <a:pt x="11048" y="8318"/>
                  </a:lnTo>
                  <a:lnTo>
                    <a:pt x="11083" y="8305"/>
                  </a:lnTo>
                  <a:lnTo>
                    <a:pt x="11118" y="8290"/>
                  </a:lnTo>
                  <a:lnTo>
                    <a:pt x="11152" y="8274"/>
                  </a:lnTo>
                  <a:lnTo>
                    <a:pt x="11186" y="8258"/>
                  </a:lnTo>
                  <a:lnTo>
                    <a:pt x="11220" y="8239"/>
                  </a:lnTo>
                  <a:lnTo>
                    <a:pt x="11253" y="8218"/>
                  </a:lnTo>
                  <a:lnTo>
                    <a:pt x="11286" y="8198"/>
                  </a:lnTo>
                  <a:lnTo>
                    <a:pt x="11318" y="8175"/>
                  </a:lnTo>
                  <a:lnTo>
                    <a:pt x="11349" y="8151"/>
                  </a:lnTo>
                  <a:lnTo>
                    <a:pt x="11381" y="8127"/>
                  </a:lnTo>
                  <a:lnTo>
                    <a:pt x="11412" y="8101"/>
                  </a:lnTo>
                  <a:lnTo>
                    <a:pt x="11442" y="8073"/>
                  </a:lnTo>
                  <a:lnTo>
                    <a:pt x="11472" y="8044"/>
                  </a:lnTo>
                  <a:lnTo>
                    <a:pt x="11502" y="8014"/>
                  </a:lnTo>
                  <a:lnTo>
                    <a:pt x="11531" y="7982"/>
                  </a:lnTo>
                  <a:lnTo>
                    <a:pt x="11560" y="7951"/>
                  </a:lnTo>
                  <a:lnTo>
                    <a:pt x="11587" y="7917"/>
                  </a:lnTo>
                  <a:lnTo>
                    <a:pt x="11616" y="7882"/>
                  </a:lnTo>
                  <a:lnTo>
                    <a:pt x="11643" y="7844"/>
                  </a:lnTo>
                  <a:lnTo>
                    <a:pt x="11671" y="7807"/>
                  </a:lnTo>
                  <a:lnTo>
                    <a:pt x="11698" y="7768"/>
                  </a:lnTo>
                  <a:lnTo>
                    <a:pt x="11724" y="7728"/>
                  </a:lnTo>
                  <a:lnTo>
                    <a:pt x="11746" y="7693"/>
                  </a:lnTo>
                  <a:lnTo>
                    <a:pt x="11768" y="7658"/>
                  </a:lnTo>
                  <a:lnTo>
                    <a:pt x="11788" y="7623"/>
                  </a:lnTo>
                  <a:lnTo>
                    <a:pt x="11806" y="7589"/>
                  </a:lnTo>
                  <a:lnTo>
                    <a:pt x="11824" y="7555"/>
                  </a:lnTo>
                  <a:lnTo>
                    <a:pt x="11839" y="7522"/>
                  </a:lnTo>
                  <a:lnTo>
                    <a:pt x="11855" y="7490"/>
                  </a:lnTo>
                  <a:lnTo>
                    <a:pt x="11868" y="7459"/>
                  </a:lnTo>
                  <a:lnTo>
                    <a:pt x="11881" y="7429"/>
                  </a:lnTo>
                  <a:lnTo>
                    <a:pt x="11893" y="7401"/>
                  </a:lnTo>
                  <a:lnTo>
                    <a:pt x="11903" y="7373"/>
                  </a:lnTo>
                  <a:lnTo>
                    <a:pt x="11913" y="7347"/>
                  </a:lnTo>
                  <a:lnTo>
                    <a:pt x="11921" y="7322"/>
                  </a:lnTo>
                  <a:lnTo>
                    <a:pt x="11929" y="7300"/>
                  </a:lnTo>
                  <a:lnTo>
                    <a:pt x="11936" y="7279"/>
                  </a:lnTo>
                  <a:lnTo>
                    <a:pt x="11943" y="7260"/>
                  </a:lnTo>
                  <a:lnTo>
                    <a:pt x="12038" y="7282"/>
                  </a:lnTo>
                  <a:lnTo>
                    <a:pt x="12135" y="7302"/>
                  </a:lnTo>
                  <a:lnTo>
                    <a:pt x="12235" y="7317"/>
                  </a:lnTo>
                  <a:lnTo>
                    <a:pt x="12336" y="7330"/>
                  </a:lnTo>
                  <a:lnTo>
                    <a:pt x="12439" y="7341"/>
                  </a:lnTo>
                  <a:lnTo>
                    <a:pt x="12543" y="7348"/>
                  </a:lnTo>
                  <a:lnTo>
                    <a:pt x="12648" y="7352"/>
                  </a:lnTo>
                  <a:lnTo>
                    <a:pt x="12753" y="7354"/>
                  </a:lnTo>
                  <a:lnTo>
                    <a:pt x="12846" y="7354"/>
                  </a:lnTo>
                  <a:lnTo>
                    <a:pt x="12899" y="7353"/>
                  </a:lnTo>
                  <a:lnTo>
                    <a:pt x="12951" y="7351"/>
                  </a:lnTo>
                  <a:lnTo>
                    <a:pt x="13004" y="7347"/>
                  </a:lnTo>
                  <a:lnTo>
                    <a:pt x="13056" y="7341"/>
                  </a:lnTo>
                  <a:lnTo>
                    <a:pt x="13109" y="7334"/>
                  </a:lnTo>
                  <a:lnTo>
                    <a:pt x="13161" y="7324"/>
                  </a:lnTo>
                  <a:lnTo>
                    <a:pt x="13213" y="7314"/>
                  </a:lnTo>
                  <a:lnTo>
                    <a:pt x="13265" y="7303"/>
                  </a:lnTo>
                  <a:lnTo>
                    <a:pt x="13318" y="7288"/>
                  </a:lnTo>
                  <a:lnTo>
                    <a:pt x="13369" y="7274"/>
                  </a:lnTo>
                  <a:lnTo>
                    <a:pt x="13421" y="7257"/>
                  </a:lnTo>
                  <a:lnTo>
                    <a:pt x="13472" y="7239"/>
                  </a:lnTo>
                  <a:lnTo>
                    <a:pt x="13524" y="7219"/>
                  </a:lnTo>
                  <a:lnTo>
                    <a:pt x="13575" y="7198"/>
                  </a:lnTo>
                  <a:lnTo>
                    <a:pt x="13625" y="7175"/>
                  </a:lnTo>
                  <a:lnTo>
                    <a:pt x="13676" y="7151"/>
                  </a:lnTo>
                  <a:lnTo>
                    <a:pt x="13726" y="7125"/>
                  </a:lnTo>
                  <a:lnTo>
                    <a:pt x="13776" y="7099"/>
                  </a:lnTo>
                  <a:lnTo>
                    <a:pt x="13826" y="7070"/>
                  </a:lnTo>
                  <a:lnTo>
                    <a:pt x="13875" y="7040"/>
                  </a:lnTo>
                  <a:lnTo>
                    <a:pt x="13925" y="7009"/>
                  </a:lnTo>
                  <a:lnTo>
                    <a:pt x="13973" y="6976"/>
                  </a:lnTo>
                  <a:lnTo>
                    <a:pt x="14022" y="6942"/>
                  </a:lnTo>
                  <a:lnTo>
                    <a:pt x="14069" y="6907"/>
                  </a:lnTo>
                  <a:lnTo>
                    <a:pt x="14117" y="6870"/>
                  </a:lnTo>
                  <a:lnTo>
                    <a:pt x="14164" y="6832"/>
                  </a:lnTo>
                  <a:lnTo>
                    <a:pt x="14211" y="6792"/>
                  </a:lnTo>
                  <a:lnTo>
                    <a:pt x="14256" y="6752"/>
                  </a:lnTo>
                  <a:lnTo>
                    <a:pt x="14302" y="6709"/>
                  </a:lnTo>
                  <a:lnTo>
                    <a:pt x="14347" y="6666"/>
                  </a:lnTo>
                  <a:lnTo>
                    <a:pt x="14392" y="6621"/>
                  </a:lnTo>
                  <a:lnTo>
                    <a:pt x="14436" y="6574"/>
                  </a:lnTo>
                  <a:lnTo>
                    <a:pt x="14502" y="6500"/>
                  </a:lnTo>
                  <a:lnTo>
                    <a:pt x="14566" y="6424"/>
                  </a:lnTo>
                  <a:lnTo>
                    <a:pt x="14629" y="6345"/>
                  </a:lnTo>
                  <a:lnTo>
                    <a:pt x="14689" y="6264"/>
                  </a:lnTo>
                  <a:lnTo>
                    <a:pt x="14746" y="6181"/>
                  </a:lnTo>
                  <a:lnTo>
                    <a:pt x="14802" y="6095"/>
                  </a:lnTo>
                  <a:lnTo>
                    <a:pt x="14856" y="6008"/>
                  </a:lnTo>
                  <a:lnTo>
                    <a:pt x="14907" y="5918"/>
                  </a:lnTo>
                  <a:lnTo>
                    <a:pt x="14957" y="5826"/>
                  </a:lnTo>
                  <a:lnTo>
                    <a:pt x="15004" y="5732"/>
                  </a:lnTo>
                  <a:lnTo>
                    <a:pt x="15050" y="5636"/>
                  </a:lnTo>
                  <a:lnTo>
                    <a:pt x="15092" y="5539"/>
                  </a:lnTo>
                  <a:lnTo>
                    <a:pt x="15133" y="5439"/>
                  </a:lnTo>
                  <a:lnTo>
                    <a:pt x="15172" y="5337"/>
                  </a:lnTo>
                  <a:lnTo>
                    <a:pt x="15208" y="5234"/>
                  </a:lnTo>
                  <a:lnTo>
                    <a:pt x="15242" y="5129"/>
                  </a:lnTo>
                  <a:lnTo>
                    <a:pt x="15274" y="5023"/>
                  </a:lnTo>
                  <a:lnTo>
                    <a:pt x="15303" y="4914"/>
                  </a:lnTo>
                  <a:lnTo>
                    <a:pt x="15331" y="4804"/>
                  </a:lnTo>
                  <a:lnTo>
                    <a:pt x="15355" y="4693"/>
                  </a:lnTo>
                  <a:lnTo>
                    <a:pt x="15377" y="4579"/>
                  </a:lnTo>
                  <a:lnTo>
                    <a:pt x="15398" y="4464"/>
                  </a:lnTo>
                  <a:lnTo>
                    <a:pt x="15415" y="4348"/>
                  </a:lnTo>
                  <a:lnTo>
                    <a:pt x="15431" y="4230"/>
                  </a:lnTo>
                  <a:lnTo>
                    <a:pt x="15443" y="4111"/>
                  </a:lnTo>
                  <a:lnTo>
                    <a:pt x="15454" y="3990"/>
                  </a:lnTo>
                  <a:lnTo>
                    <a:pt x="15462" y="3868"/>
                  </a:lnTo>
                  <a:lnTo>
                    <a:pt x="15467" y="3745"/>
                  </a:lnTo>
                  <a:lnTo>
                    <a:pt x="15470" y="3621"/>
                  </a:lnTo>
                  <a:lnTo>
                    <a:pt x="15471" y="3496"/>
                  </a:lnTo>
                  <a:lnTo>
                    <a:pt x="15469" y="3369"/>
                  </a:lnTo>
                  <a:lnTo>
                    <a:pt x="15464" y="3240"/>
                  </a:lnTo>
                  <a:lnTo>
                    <a:pt x="15460" y="3150"/>
                  </a:lnTo>
                  <a:lnTo>
                    <a:pt x="15455" y="3060"/>
                  </a:lnTo>
                  <a:lnTo>
                    <a:pt x="15448" y="2971"/>
                  </a:lnTo>
                  <a:lnTo>
                    <a:pt x="15441" y="2885"/>
                  </a:lnTo>
                  <a:lnTo>
                    <a:pt x="15435" y="2799"/>
                  </a:lnTo>
                  <a:lnTo>
                    <a:pt x="15427" y="2716"/>
                  </a:lnTo>
                  <a:lnTo>
                    <a:pt x="15418" y="2633"/>
                  </a:lnTo>
                  <a:lnTo>
                    <a:pt x="15409" y="2553"/>
                  </a:lnTo>
                  <a:lnTo>
                    <a:pt x="15400" y="2475"/>
                  </a:lnTo>
                  <a:lnTo>
                    <a:pt x="15390" y="2397"/>
                  </a:lnTo>
                  <a:lnTo>
                    <a:pt x="15379" y="2321"/>
                  </a:lnTo>
                  <a:lnTo>
                    <a:pt x="15369" y="2246"/>
                  </a:lnTo>
                  <a:lnTo>
                    <a:pt x="15356" y="2174"/>
                  </a:lnTo>
                  <a:lnTo>
                    <a:pt x="15345" y="2102"/>
                  </a:lnTo>
                  <a:lnTo>
                    <a:pt x="15332" y="2032"/>
                  </a:lnTo>
                  <a:lnTo>
                    <a:pt x="15319" y="1964"/>
                  </a:lnTo>
                  <a:lnTo>
                    <a:pt x="15306" y="1897"/>
                  </a:lnTo>
                  <a:lnTo>
                    <a:pt x="15291" y="1832"/>
                  </a:lnTo>
                  <a:lnTo>
                    <a:pt x="15277" y="1768"/>
                  </a:lnTo>
                  <a:lnTo>
                    <a:pt x="15261" y="1705"/>
                  </a:lnTo>
                  <a:lnTo>
                    <a:pt x="15247" y="1645"/>
                  </a:lnTo>
                  <a:lnTo>
                    <a:pt x="15231" y="1585"/>
                  </a:lnTo>
                  <a:lnTo>
                    <a:pt x="15214" y="1527"/>
                  </a:lnTo>
                  <a:lnTo>
                    <a:pt x="15197" y="1471"/>
                  </a:lnTo>
                  <a:lnTo>
                    <a:pt x="15181" y="1415"/>
                  </a:lnTo>
                  <a:lnTo>
                    <a:pt x="15163" y="1361"/>
                  </a:lnTo>
                  <a:lnTo>
                    <a:pt x="15146" y="1310"/>
                  </a:lnTo>
                  <a:lnTo>
                    <a:pt x="15127" y="1258"/>
                  </a:lnTo>
                  <a:lnTo>
                    <a:pt x="15109" y="1210"/>
                  </a:lnTo>
                  <a:lnTo>
                    <a:pt x="15090" y="1162"/>
                  </a:lnTo>
                  <a:lnTo>
                    <a:pt x="15071" y="1115"/>
                  </a:lnTo>
                  <a:lnTo>
                    <a:pt x="15051" y="1071"/>
                  </a:lnTo>
                  <a:lnTo>
                    <a:pt x="15031" y="1027"/>
                  </a:lnTo>
                  <a:lnTo>
                    <a:pt x="15011" y="985"/>
                  </a:lnTo>
                  <a:lnTo>
                    <a:pt x="14991" y="944"/>
                  </a:lnTo>
                  <a:lnTo>
                    <a:pt x="14969" y="905"/>
                  </a:lnTo>
                  <a:lnTo>
                    <a:pt x="14949" y="867"/>
                  </a:lnTo>
                  <a:lnTo>
                    <a:pt x="14927" y="831"/>
                  </a:lnTo>
                  <a:lnTo>
                    <a:pt x="14905" y="796"/>
                  </a:lnTo>
                  <a:lnTo>
                    <a:pt x="14884" y="763"/>
                  </a:lnTo>
                  <a:lnTo>
                    <a:pt x="14862" y="731"/>
                  </a:lnTo>
                  <a:lnTo>
                    <a:pt x="14839" y="700"/>
                  </a:lnTo>
                  <a:lnTo>
                    <a:pt x="14817" y="670"/>
                  </a:lnTo>
                  <a:lnTo>
                    <a:pt x="14794" y="642"/>
                  </a:lnTo>
                  <a:lnTo>
                    <a:pt x="14771" y="617"/>
                  </a:lnTo>
                  <a:lnTo>
                    <a:pt x="14748" y="591"/>
                  </a:lnTo>
                  <a:lnTo>
                    <a:pt x="14725" y="567"/>
                  </a:lnTo>
                  <a:lnTo>
                    <a:pt x="14702" y="546"/>
                  </a:lnTo>
                  <a:lnTo>
                    <a:pt x="14678" y="524"/>
                  </a:lnTo>
                  <a:lnTo>
                    <a:pt x="14654" y="504"/>
                  </a:lnTo>
                  <a:lnTo>
                    <a:pt x="14630" y="487"/>
                  </a:lnTo>
                  <a:lnTo>
                    <a:pt x="14606" y="469"/>
                  </a:lnTo>
                  <a:lnTo>
                    <a:pt x="14582" y="454"/>
                  </a:lnTo>
                  <a:lnTo>
                    <a:pt x="14557" y="440"/>
                  </a:lnTo>
                  <a:lnTo>
                    <a:pt x="14534" y="427"/>
                  </a:lnTo>
                  <a:lnTo>
                    <a:pt x="14509" y="416"/>
                  </a:lnTo>
                  <a:lnTo>
                    <a:pt x="14484" y="405"/>
                  </a:lnTo>
                  <a:lnTo>
                    <a:pt x="14459" y="397"/>
                  </a:lnTo>
                  <a:lnTo>
                    <a:pt x="14435" y="390"/>
                  </a:lnTo>
                  <a:lnTo>
                    <a:pt x="14410" y="384"/>
                  </a:lnTo>
                  <a:lnTo>
                    <a:pt x="14385" y="380"/>
                  </a:lnTo>
                  <a:lnTo>
                    <a:pt x="14360" y="376"/>
                  </a:lnTo>
                  <a:lnTo>
                    <a:pt x="14336" y="374"/>
                  </a:lnTo>
                  <a:lnTo>
                    <a:pt x="14311" y="374"/>
                  </a:lnTo>
                  <a:lnTo>
                    <a:pt x="14280" y="374"/>
                  </a:lnTo>
                  <a:lnTo>
                    <a:pt x="14251" y="377"/>
                  </a:lnTo>
                  <a:lnTo>
                    <a:pt x="14223" y="381"/>
                  </a:lnTo>
                  <a:lnTo>
                    <a:pt x="14170" y="393"/>
                  </a:lnTo>
                  <a:lnTo>
                    <a:pt x="14121" y="409"/>
                  </a:lnTo>
                  <a:lnTo>
                    <a:pt x="14074" y="428"/>
                  </a:lnTo>
                  <a:lnTo>
                    <a:pt x="14031" y="450"/>
                  </a:lnTo>
                  <a:lnTo>
                    <a:pt x="13990" y="473"/>
                  </a:lnTo>
                  <a:lnTo>
                    <a:pt x="13953" y="500"/>
                  </a:lnTo>
                  <a:lnTo>
                    <a:pt x="13917" y="529"/>
                  </a:lnTo>
                  <a:lnTo>
                    <a:pt x="13885" y="559"/>
                  </a:lnTo>
                  <a:lnTo>
                    <a:pt x="13855" y="590"/>
                  </a:lnTo>
                  <a:lnTo>
                    <a:pt x="13828" y="622"/>
                  </a:lnTo>
                  <a:lnTo>
                    <a:pt x="13802" y="654"/>
                  </a:lnTo>
                  <a:lnTo>
                    <a:pt x="13779" y="686"/>
                  </a:lnTo>
                  <a:lnTo>
                    <a:pt x="13757" y="718"/>
                  </a:lnTo>
                  <a:lnTo>
                    <a:pt x="13737" y="748"/>
                  </a:lnTo>
                  <a:lnTo>
                    <a:pt x="13719" y="778"/>
                  </a:lnTo>
                  <a:lnTo>
                    <a:pt x="13706" y="803"/>
                  </a:lnTo>
                  <a:lnTo>
                    <a:pt x="13690" y="829"/>
                  </a:lnTo>
                  <a:lnTo>
                    <a:pt x="13674" y="857"/>
                  </a:lnTo>
                  <a:lnTo>
                    <a:pt x="13656" y="883"/>
                  </a:lnTo>
                  <a:lnTo>
                    <a:pt x="13639" y="909"/>
                  </a:lnTo>
                  <a:lnTo>
                    <a:pt x="13622" y="932"/>
                  </a:lnTo>
                  <a:lnTo>
                    <a:pt x="13615" y="942"/>
                  </a:lnTo>
                  <a:lnTo>
                    <a:pt x="13607" y="951"/>
                  </a:lnTo>
                  <a:lnTo>
                    <a:pt x="13600" y="959"/>
                  </a:lnTo>
                  <a:lnTo>
                    <a:pt x="13594" y="966"/>
                  </a:lnTo>
                  <a:lnTo>
                    <a:pt x="13559" y="987"/>
                  </a:lnTo>
                  <a:lnTo>
                    <a:pt x="13524" y="1007"/>
                  </a:lnTo>
                  <a:lnTo>
                    <a:pt x="13489" y="1025"/>
                  </a:lnTo>
                  <a:lnTo>
                    <a:pt x="13454" y="1040"/>
                  </a:lnTo>
                  <a:lnTo>
                    <a:pt x="13419" y="1053"/>
                  </a:lnTo>
                  <a:lnTo>
                    <a:pt x="13384" y="1067"/>
                  </a:lnTo>
                  <a:lnTo>
                    <a:pt x="13314" y="1090"/>
                  </a:lnTo>
                  <a:lnTo>
                    <a:pt x="13266" y="1112"/>
                  </a:lnTo>
                  <a:lnTo>
                    <a:pt x="13214" y="1134"/>
                  </a:lnTo>
                  <a:lnTo>
                    <a:pt x="13162" y="1157"/>
                  </a:lnTo>
                  <a:lnTo>
                    <a:pt x="13135" y="1170"/>
                  </a:lnTo>
                  <a:lnTo>
                    <a:pt x="13107" y="1183"/>
                  </a:lnTo>
                  <a:lnTo>
                    <a:pt x="13079" y="1199"/>
                  </a:lnTo>
                  <a:lnTo>
                    <a:pt x="13051" y="1216"/>
                  </a:lnTo>
                  <a:lnTo>
                    <a:pt x="13022" y="1235"/>
                  </a:lnTo>
                  <a:lnTo>
                    <a:pt x="12993" y="1256"/>
                  </a:lnTo>
                  <a:lnTo>
                    <a:pt x="12965" y="1280"/>
                  </a:lnTo>
                  <a:lnTo>
                    <a:pt x="12936" y="1307"/>
                  </a:lnTo>
                  <a:lnTo>
                    <a:pt x="12907" y="1337"/>
                  </a:lnTo>
                  <a:lnTo>
                    <a:pt x="12878" y="1371"/>
                  </a:lnTo>
                  <a:lnTo>
                    <a:pt x="12858" y="1391"/>
                  </a:lnTo>
                  <a:lnTo>
                    <a:pt x="12840" y="1412"/>
                  </a:lnTo>
                  <a:lnTo>
                    <a:pt x="12823" y="1433"/>
                  </a:lnTo>
                  <a:lnTo>
                    <a:pt x="12809" y="1455"/>
                  </a:lnTo>
                  <a:lnTo>
                    <a:pt x="12795" y="1477"/>
                  </a:lnTo>
                  <a:lnTo>
                    <a:pt x="12783" y="1499"/>
                  </a:lnTo>
                  <a:lnTo>
                    <a:pt x="12772" y="1522"/>
                  </a:lnTo>
                  <a:lnTo>
                    <a:pt x="12762" y="1545"/>
                  </a:lnTo>
                  <a:lnTo>
                    <a:pt x="12754" y="1568"/>
                  </a:lnTo>
                  <a:lnTo>
                    <a:pt x="12747" y="1591"/>
                  </a:lnTo>
                  <a:lnTo>
                    <a:pt x="12741" y="1615"/>
                  </a:lnTo>
                  <a:lnTo>
                    <a:pt x="12735" y="1638"/>
                  </a:lnTo>
                  <a:lnTo>
                    <a:pt x="12729" y="1688"/>
                  </a:lnTo>
                  <a:lnTo>
                    <a:pt x="12725" y="1736"/>
                  </a:lnTo>
                  <a:lnTo>
                    <a:pt x="12726" y="1787"/>
                  </a:lnTo>
                  <a:lnTo>
                    <a:pt x="12728" y="1837"/>
                  </a:lnTo>
                  <a:lnTo>
                    <a:pt x="12734" y="1889"/>
                  </a:lnTo>
                  <a:lnTo>
                    <a:pt x="12742" y="1940"/>
                  </a:lnTo>
                  <a:lnTo>
                    <a:pt x="12751" y="1992"/>
                  </a:lnTo>
                  <a:lnTo>
                    <a:pt x="12761" y="2044"/>
                  </a:lnTo>
                  <a:lnTo>
                    <a:pt x="12784" y="2149"/>
                  </a:lnTo>
                  <a:lnTo>
                    <a:pt x="12795" y="2203"/>
                  </a:lnTo>
                  <a:lnTo>
                    <a:pt x="12809" y="2260"/>
                  </a:lnTo>
                  <a:lnTo>
                    <a:pt x="12821" y="2318"/>
                  </a:lnTo>
                  <a:lnTo>
                    <a:pt x="12835" y="2379"/>
                  </a:lnTo>
                  <a:lnTo>
                    <a:pt x="12847" y="2444"/>
                  </a:lnTo>
                  <a:lnTo>
                    <a:pt x="12859" y="2511"/>
                  </a:lnTo>
                  <a:lnTo>
                    <a:pt x="12871" y="2582"/>
                  </a:lnTo>
                  <a:lnTo>
                    <a:pt x="12881" y="2656"/>
                  </a:lnTo>
                  <a:lnTo>
                    <a:pt x="12891" y="2733"/>
                  </a:lnTo>
                  <a:lnTo>
                    <a:pt x="12900" y="2815"/>
                  </a:lnTo>
                  <a:lnTo>
                    <a:pt x="12903" y="2858"/>
                  </a:lnTo>
                  <a:lnTo>
                    <a:pt x="12906" y="2901"/>
                  </a:lnTo>
                  <a:lnTo>
                    <a:pt x="12909" y="2946"/>
                  </a:lnTo>
                  <a:lnTo>
                    <a:pt x="12911" y="2991"/>
                  </a:lnTo>
                  <a:lnTo>
                    <a:pt x="12913" y="3037"/>
                  </a:lnTo>
                  <a:lnTo>
                    <a:pt x="12914" y="3085"/>
                  </a:lnTo>
                  <a:lnTo>
                    <a:pt x="12915" y="3134"/>
                  </a:lnTo>
                  <a:lnTo>
                    <a:pt x="12915" y="3184"/>
                  </a:lnTo>
                  <a:lnTo>
                    <a:pt x="12914" y="3235"/>
                  </a:lnTo>
                  <a:lnTo>
                    <a:pt x="12913" y="3288"/>
                  </a:lnTo>
                  <a:lnTo>
                    <a:pt x="12911" y="3341"/>
                  </a:lnTo>
                  <a:lnTo>
                    <a:pt x="12909" y="3396"/>
                  </a:lnTo>
                  <a:lnTo>
                    <a:pt x="12901" y="3396"/>
                  </a:lnTo>
                  <a:lnTo>
                    <a:pt x="12890" y="3396"/>
                  </a:lnTo>
                  <a:lnTo>
                    <a:pt x="12869" y="3392"/>
                  </a:lnTo>
                  <a:lnTo>
                    <a:pt x="12843" y="3384"/>
                  </a:lnTo>
                  <a:lnTo>
                    <a:pt x="12815" y="3375"/>
                  </a:lnTo>
                  <a:lnTo>
                    <a:pt x="12785" y="3362"/>
                  </a:lnTo>
                  <a:lnTo>
                    <a:pt x="12754" y="3345"/>
                  </a:lnTo>
                  <a:lnTo>
                    <a:pt x="12722" y="3326"/>
                  </a:lnTo>
                  <a:lnTo>
                    <a:pt x="12690" y="3303"/>
                  </a:lnTo>
                  <a:lnTo>
                    <a:pt x="12690" y="3302"/>
                  </a:lnTo>
                  <a:lnTo>
                    <a:pt x="12688" y="3300"/>
                  </a:lnTo>
                  <a:lnTo>
                    <a:pt x="12685" y="3296"/>
                  </a:lnTo>
                  <a:lnTo>
                    <a:pt x="12681" y="3291"/>
                  </a:lnTo>
                  <a:lnTo>
                    <a:pt x="12676" y="3284"/>
                  </a:lnTo>
                  <a:lnTo>
                    <a:pt x="12669" y="3276"/>
                  </a:lnTo>
                  <a:lnTo>
                    <a:pt x="12662" y="3268"/>
                  </a:lnTo>
                  <a:lnTo>
                    <a:pt x="12654" y="3258"/>
                  </a:lnTo>
                  <a:lnTo>
                    <a:pt x="12636" y="3236"/>
                  </a:lnTo>
                  <a:lnTo>
                    <a:pt x="12615" y="3210"/>
                  </a:lnTo>
                  <a:lnTo>
                    <a:pt x="12591" y="3184"/>
                  </a:lnTo>
                  <a:lnTo>
                    <a:pt x="12566" y="3155"/>
                  </a:lnTo>
                  <a:lnTo>
                    <a:pt x="12539" y="3125"/>
                  </a:lnTo>
                  <a:lnTo>
                    <a:pt x="12511" y="3096"/>
                  </a:lnTo>
                  <a:lnTo>
                    <a:pt x="12482" y="3067"/>
                  </a:lnTo>
                  <a:lnTo>
                    <a:pt x="12454" y="3039"/>
                  </a:lnTo>
                  <a:lnTo>
                    <a:pt x="12426" y="3015"/>
                  </a:lnTo>
                  <a:lnTo>
                    <a:pt x="12398" y="2992"/>
                  </a:lnTo>
                  <a:lnTo>
                    <a:pt x="12384" y="2983"/>
                  </a:lnTo>
                  <a:lnTo>
                    <a:pt x="12372" y="2973"/>
                  </a:lnTo>
                  <a:lnTo>
                    <a:pt x="12360" y="2966"/>
                  </a:lnTo>
                  <a:lnTo>
                    <a:pt x="12347" y="2960"/>
                  </a:lnTo>
                  <a:lnTo>
                    <a:pt x="12370" y="2947"/>
                  </a:lnTo>
                  <a:lnTo>
                    <a:pt x="12390" y="2931"/>
                  </a:lnTo>
                  <a:lnTo>
                    <a:pt x="12408" y="2914"/>
                  </a:lnTo>
                  <a:lnTo>
                    <a:pt x="12426" y="2893"/>
                  </a:lnTo>
                  <a:lnTo>
                    <a:pt x="12443" y="2872"/>
                  </a:lnTo>
                  <a:lnTo>
                    <a:pt x="12462" y="2850"/>
                  </a:lnTo>
                  <a:lnTo>
                    <a:pt x="12481" y="2827"/>
                  </a:lnTo>
                  <a:lnTo>
                    <a:pt x="12503" y="2803"/>
                  </a:lnTo>
                  <a:lnTo>
                    <a:pt x="12519" y="2762"/>
                  </a:lnTo>
                  <a:lnTo>
                    <a:pt x="12531" y="2721"/>
                  </a:lnTo>
                  <a:lnTo>
                    <a:pt x="12539" y="2678"/>
                  </a:lnTo>
                  <a:lnTo>
                    <a:pt x="12544" y="2634"/>
                  </a:lnTo>
                  <a:lnTo>
                    <a:pt x="12546" y="2590"/>
                  </a:lnTo>
                  <a:lnTo>
                    <a:pt x="12544" y="2545"/>
                  </a:lnTo>
                  <a:lnTo>
                    <a:pt x="12539" y="2500"/>
                  </a:lnTo>
                  <a:lnTo>
                    <a:pt x="12531" y="2453"/>
                  </a:lnTo>
                  <a:lnTo>
                    <a:pt x="12519" y="2406"/>
                  </a:lnTo>
                  <a:lnTo>
                    <a:pt x="12503" y="2358"/>
                  </a:lnTo>
                  <a:lnTo>
                    <a:pt x="12486" y="2310"/>
                  </a:lnTo>
                  <a:lnTo>
                    <a:pt x="12464" y="2261"/>
                  </a:lnTo>
                  <a:lnTo>
                    <a:pt x="12439" y="2210"/>
                  </a:lnTo>
                  <a:lnTo>
                    <a:pt x="12411" y="2160"/>
                  </a:lnTo>
                  <a:lnTo>
                    <a:pt x="12381" y="2108"/>
                  </a:lnTo>
                  <a:lnTo>
                    <a:pt x="12347" y="2056"/>
                  </a:lnTo>
                  <a:lnTo>
                    <a:pt x="12327" y="2030"/>
                  </a:lnTo>
                  <a:lnTo>
                    <a:pt x="12306" y="2006"/>
                  </a:lnTo>
                  <a:lnTo>
                    <a:pt x="12285" y="1982"/>
                  </a:lnTo>
                  <a:lnTo>
                    <a:pt x="12265" y="1961"/>
                  </a:lnTo>
                  <a:lnTo>
                    <a:pt x="12243" y="1939"/>
                  </a:lnTo>
                  <a:lnTo>
                    <a:pt x="12222" y="1920"/>
                  </a:lnTo>
                  <a:lnTo>
                    <a:pt x="12179" y="1882"/>
                  </a:lnTo>
                  <a:lnTo>
                    <a:pt x="12136" y="1848"/>
                  </a:lnTo>
                  <a:lnTo>
                    <a:pt x="12092" y="1816"/>
                  </a:lnTo>
                  <a:lnTo>
                    <a:pt x="12048" y="1786"/>
                  </a:lnTo>
                  <a:lnTo>
                    <a:pt x="12005" y="1758"/>
                  </a:lnTo>
                  <a:lnTo>
                    <a:pt x="11960" y="1730"/>
                  </a:lnTo>
                  <a:lnTo>
                    <a:pt x="11917" y="1703"/>
                  </a:lnTo>
                  <a:lnTo>
                    <a:pt x="11830" y="1650"/>
                  </a:lnTo>
                  <a:lnTo>
                    <a:pt x="11787" y="1622"/>
                  </a:lnTo>
                  <a:lnTo>
                    <a:pt x="11744" y="1592"/>
                  </a:lnTo>
                  <a:lnTo>
                    <a:pt x="11703" y="1561"/>
                  </a:lnTo>
                  <a:lnTo>
                    <a:pt x="11662" y="1526"/>
                  </a:lnTo>
                  <a:lnTo>
                    <a:pt x="11628" y="1498"/>
                  </a:lnTo>
                  <a:lnTo>
                    <a:pt x="11594" y="1470"/>
                  </a:lnTo>
                  <a:lnTo>
                    <a:pt x="11577" y="1454"/>
                  </a:lnTo>
                  <a:lnTo>
                    <a:pt x="11562" y="1438"/>
                  </a:lnTo>
                  <a:lnTo>
                    <a:pt x="11548" y="1421"/>
                  </a:lnTo>
                  <a:lnTo>
                    <a:pt x="11537" y="1402"/>
                  </a:lnTo>
                  <a:lnTo>
                    <a:pt x="11510" y="1365"/>
                  </a:lnTo>
                  <a:lnTo>
                    <a:pt x="11479" y="1325"/>
                  </a:lnTo>
                  <a:lnTo>
                    <a:pt x="11447" y="1282"/>
                  </a:lnTo>
                  <a:lnTo>
                    <a:pt x="11412" y="1237"/>
                  </a:lnTo>
                  <a:lnTo>
                    <a:pt x="11374" y="1189"/>
                  </a:lnTo>
                  <a:lnTo>
                    <a:pt x="11334" y="1139"/>
                  </a:lnTo>
                  <a:lnTo>
                    <a:pt x="11290" y="1087"/>
                  </a:lnTo>
                  <a:lnTo>
                    <a:pt x="11245" y="1034"/>
                  </a:lnTo>
                  <a:lnTo>
                    <a:pt x="11196" y="979"/>
                  </a:lnTo>
                  <a:lnTo>
                    <a:pt x="11146" y="924"/>
                  </a:lnTo>
                  <a:lnTo>
                    <a:pt x="11092" y="867"/>
                  </a:lnTo>
                  <a:lnTo>
                    <a:pt x="11036" y="810"/>
                  </a:lnTo>
                  <a:lnTo>
                    <a:pt x="10977" y="754"/>
                  </a:lnTo>
                  <a:lnTo>
                    <a:pt x="10916" y="696"/>
                  </a:lnTo>
                  <a:lnTo>
                    <a:pt x="10852" y="639"/>
                  </a:lnTo>
                  <a:lnTo>
                    <a:pt x="10785" y="584"/>
                  </a:lnTo>
                  <a:lnTo>
                    <a:pt x="10716" y="529"/>
                  </a:lnTo>
                  <a:lnTo>
                    <a:pt x="10644" y="474"/>
                  </a:lnTo>
                  <a:lnTo>
                    <a:pt x="10570" y="423"/>
                  </a:lnTo>
                  <a:lnTo>
                    <a:pt x="10492" y="371"/>
                  </a:lnTo>
                  <a:lnTo>
                    <a:pt x="10413" y="323"/>
                  </a:lnTo>
                  <a:lnTo>
                    <a:pt x="10330" y="277"/>
                  </a:lnTo>
                  <a:lnTo>
                    <a:pt x="10244" y="233"/>
                  </a:lnTo>
                  <a:lnTo>
                    <a:pt x="10157" y="192"/>
                  </a:lnTo>
                  <a:lnTo>
                    <a:pt x="10066" y="154"/>
                  </a:lnTo>
                  <a:lnTo>
                    <a:pt x="9973" y="120"/>
                  </a:lnTo>
                  <a:lnTo>
                    <a:pt x="9877" y="89"/>
                  </a:lnTo>
                  <a:lnTo>
                    <a:pt x="9827" y="75"/>
                  </a:lnTo>
                  <a:lnTo>
                    <a:pt x="9778" y="62"/>
                  </a:lnTo>
                  <a:lnTo>
                    <a:pt x="9727" y="50"/>
                  </a:lnTo>
                  <a:lnTo>
                    <a:pt x="9677" y="40"/>
                  </a:lnTo>
                  <a:lnTo>
                    <a:pt x="9625" y="30"/>
                  </a:lnTo>
                  <a:lnTo>
                    <a:pt x="9572" y="21"/>
                  </a:lnTo>
                  <a:lnTo>
                    <a:pt x="9520" y="14"/>
                  </a:lnTo>
                  <a:lnTo>
                    <a:pt x="9465" y="8"/>
                  </a:lnTo>
                  <a:lnTo>
                    <a:pt x="9411" y="3"/>
                  </a:lnTo>
                  <a:lnTo>
                    <a:pt x="9356" y="0"/>
                  </a:lnTo>
                  <a:lnTo>
                    <a:pt x="9231" y="0"/>
                  </a:lnTo>
                  <a:lnTo>
                    <a:pt x="9231" y="0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" name="Freeform 45">
              <a:extLst>
                <a:ext uri="{FF2B5EF4-FFF2-40B4-BE49-F238E27FC236}">
                  <a16:creationId xmlns:a16="http://schemas.microsoft.com/office/drawing/2014/main" id="{ABF14247-0755-4552-90C2-D5913BA70C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1676" y="4108452"/>
              <a:ext cx="220661" cy="225424"/>
            </a:xfrm>
            <a:custGeom>
              <a:avLst/>
              <a:gdLst>
                <a:gd name="T0" fmla="*/ 2086 w 2090"/>
                <a:gd name="T1" fmla="*/ 1 h 2119"/>
                <a:gd name="T2" fmla="*/ 2063 w 2090"/>
                <a:gd name="T3" fmla="*/ 8 h 2119"/>
                <a:gd name="T4" fmla="*/ 2023 w 2090"/>
                <a:gd name="T5" fmla="*/ 20 h 2119"/>
                <a:gd name="T6" fmla="*/ 1964 w 2090"/>
                <a:gd name="T7" fmla="*/ 35 h 2119"/>
                <a:gd name="T8" fmla="*/ 1887 w 2090"/>
                <a:gd name="T9" fmla="*/ 53 h 2119"/>
                <a:gd name="T10" fmla="*/ 1790 w 2090"/>
                <a:gd name="T11" fmla="*/ 73 h 2119"/>
                <a:gd name="T12" fmla="*/ 1673 w 2090"/>
                <a:gd name="T13" fmla="*/ 96 h 2119"/>
                <a:gd name="T14" fmla="*/ 1536 w 2090"/>
                <a:gd name="T15" fmla="*/ 119 h 2119"/>
                <a:gd name="T16" fmla="*/ 1298 w 2090"/>
                <a:gd name="T17" fmla="*/ 152 h 2119"/>
                <a:gd name="T18" fmla="*/ 1061 w 2090"/>
                <a:gd name="T19" fmla="*/ 171 h 2119"/>
                <a:gd name="T20" fmla="*/ 859 w 2090"/>
                <a:gd name="T21" fmla="*/ 192 h 2119"/>
                <a:gd name="T22" fmla="*/ 693 w 2090"/>
                <a:gd name="T23" fmla="*/ 233 h 2119"/>
                <a:gd name="T24" fmla="*/ 515 w 2090"/>
                <a:gd name="T25" fmla="*/ 347 h 2119"/>
                <a:gd name="T26" fmla="*/ 365 w 2090"/>
                <a:gd name="T27" fmla="*/ 513 h 2119"/>
                <a:gd name="T28" fmla="*/ 248 w 2090"/>
                <a:gd name="T29" fmla="*/ 723 h 2119"/>
                <a:gd name="T30" fmla="*/ 150 w 2090"/>
                <a:gd name="T31" fmla="*/ 986 h 2119"/>
                <a:gd name="T32" fmla="*/ 77 w 2090"/>
                <a:gd name="T33" fmla="*/ 1239 h 2119"/>
                <a:gd name="T34" fmla="*/ 19 w 2090"/>
                <a:gd name="T35" fmla="*/ 1600 h 2119"/>
                <a:gd name="T36" fmla="*/ 7 w 2090"/>
                <a:gd name="T37" fmla="*/ 1765 h 2119"/>
                <a:gd name="T38" fmla="*/ 1 w 2090"/>
                <a:gd name="T39" fmla="*/ 1907 h 2119"/>
                <a:gd name="T40" fmla="*/ 1 w 2090"/>
                <a:gd name="T41" fmla="*/ 2019 h 2119"/>
                <a:gd name="T42" fmla="*/ 2 w 2090"/>
                <a:gd name="T43" fmla="*/ 2093 h 2119"/>
                <a:gd name="T44" fmla="*/ 3 w 2090"/>
                <a:gd name="T45" fmla="*/ 2119 h 2119"/>
                <a:gd name="T46" fmla="*/ 5 w 2090"/>
                <a:gd name="T47" fmla="*/ 2110 h 2119"/>
                <a:gd name="T48" fmla="*/ 12 w 2090"/>
                <a:gd name="T49" fmla="*/ 2082 h 2119"/>
                <a:gd name="T50" fmla="*/ 40 w 2090"/>
                <a:gd name="T51" fmla="*/ 1983 h 2119"/>
                <a:gd name="T52" fmla="*/ 83 w 2090"/>
                <a:gd name="T53" fmla="*/ 1837 h 2119"/>
                <a:gd name="T54" fmla="*/ 139 w 2090"/>
                <a:gd name="T55" fmla="*/ 1659 h 2119"/>
                <a:gd name="T56" fmla="*/ 260 w 2090"/>
                <a:gd name="T57" fmla="*/ 1325 h 2119"/>
                <a:gd name="T58" fmla="*/ 337 w 2090"/>
                <a:gd name="T59" fmla="*/ 1145 h 2119"/>
                <a:gd name="T60" fmla="*/ 419 w 2090"/>
                <a:gd name="T61" fmla="*/ 997 h 2119"/>
                <a:gd name="T62" fmla="*/ 481 w 2090"/>
                <a:gd name="T63" fmla="*/ 901 h 2119"/>
                <a:gd name="T64" fmla="*/ 565 w 2090"/>
                <a:gd name="T65" fmla="*/ 784 h 2119"/>
                <a:gd name="T66" fmla="*/ 636 w 2090"/>
                <a:gd name="T67" fmla="*/ 701 h 2119"/>
                <a:gd name="T68" fmla="*/ 679 w 2090"/>
                <a:gd name="T69" fmla="*/ 662 h 2119"/>
                <a:gd name="T70" fmla="*/ 687 w 2090"/>
                <a:gd name="T71" fmla="*/ 656 h 2119"/>
                <a:gd name="T72" fmla="*/ 675 w 2090"/>
                <a:gd name="T73" fmla="*/ 694 h 2119"/>
                <a:gd name="T74" fmla="*/ 657 w 2090"/>
                <a:gd name="T75" fmla="*/ 770 h 2119"/>
                <a:gd name="T76" fmla="*/ 648 w 2090"/>
                <a:gd name="T77" fmla="*/ 863 h 2119"/>
                <a:gd name="T78" fmla="*/ 663 w 2090"/>
                <a:gd name="T79" fmla="*/ 987 h 2119"/>
                <a:gd name="T80" fmla="*/ 699 w 2090"/>
                <a:gd name="T81" fmla="*/ 1175 h 2119"/>
                <a:gd name="T82" fmla="*/ 741 w 2090"/>
                <a:gd name="T83" fmla="*/ 1322 h 2119"/>
                <a:gd name="T84" fmla="*/ 767 w 2090"/>
                <a:gd name="T85" fmla="*/ 1395 h 2119"/>
                <a:gd name="T86" fmla="*/ 778 w 2090"/>
                <a:gd name="T87" fmla="*/ 1424 h 2119"/>
                <a:gd name="T88" fmla="*/ 782 w 2090"/>
                <a:gd name="T89" fmla="*/ 1434 h 2119"/>
                <a:gd name="T90" fmla="*/ 783 w 2090"/>
                <a:gd name="T91" fmla="*/ 1407 h 2119"/>
                <a:gd name="T92" fmla="*/ 790 w 2090"/>
                <a:gd name="T93" fmla="*/ 1337 h 2119"/>
                <a:gd name="T94" fmla="*/ 803 w 2090"/>
                <a:gd name="T95" fmla="*/ 1231 h 2119"/>
                <a:gd name="T96" fmla="*/ 824 w 2090"/>
                <a:gd name="T97" fmla="*/ 1102 h 2119"/>
                <a:gd name="T98" fmla="*/ 900 w 2090"/>
                <a:gd name="T99" fmla="*/ 816 h 2119"/>
                <a:gd name="T100" fmla="*/ 974 w 2090"/>
                <a:gd name="T101" fmla="*/ 647 h 2119"/>
                <a:gd name="T102" fmla="*/ 1055 w 2090"/>
                <a:gd name="T103" fmla="*/ 533 h 2119"/>
                <a:gd name="T104" fmla="*/ 1165 w 2090"/>
                <a:gd name="T105" fmla="*/ 433 h 2119"/>
                <a:gd name="T106" fmla="*/ 1295 w 2090"/>
                <a:gd name="T107" fmla="*/ 351 h 2119"/>
                <a:gd name="T108" fmla="*/ 1560 w 2090"/>
                <a:gd name="T109" fmla="*/ 249 h 2119"/>
                <a:gd name="T110" fmla="*/ 1736 w 2090"/>
                <a:gd name="T111" fmla="*/ 184 h 2119"/>
                <a:gd name="T112" fmla="*/ 1907 w 2090"/>
                <a:gd name="T113" fmla="*/ 101 h 2119"/>
                <a:gd name="T114" fmla="*/ 2012 w 2090"/>
                <a:gd name="T115" fmla="*/ 45 h 2119"/>
                <a:gd name="T116" fmla="*/ 2060 w 2090"/>
                <a:gd name="T117" fmla="*/ 18 h 2119"/>
                <a:gd name="T118" fmla="*/ 2087 w 2090"/>
                <a:gd name="T119" fmla="*/ 2 h 2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90" h="2119">
                  <a:moveTo>
                    <a:pt x="2090" y="0"/>
                  </a:moveTo>
                  <a:lnTo>
                    <a:pt x="2090" y="0"/>
                  </a:lnTo>
                  <a:lnTo>
                    <a:pt x="2088" y="1"/>
                  </a:lnTo>
                  <a:lnTo>
                    <a:pt x="2086" y="1"/>
                  </a:lnTo>
                  <a:lnTo>
                    <a:pt x="2082" y="3"/>
                  </a:lnTo>
                  <a:lnTo>
                    <a:pt x="2077" y="4"/>
                  </a:lnTo>
                  <a:lnTo>
                    <a:pt x="2070" y="6"/>
                  </a:lnTo>
                  <a:lnTo>
                    <a:pt x="2063" y="8"/>
                  </a:lnTo>
                  <a:lnTo>
                    <a:pt x="2055" y="10"/>
                  </a:lnTo>
                  <a:lnTo>
                    <a:pt x="2046" y="13"/>
                  </a:lnTo>
                  <a:lnTo>
                    <a:pt x="2034" y="17"/>
                  </a:lnTo>
                  <a:lnTo>
                    <a:pt x="2023" y="20"/>
                  </a:lnTo>
                  <a:lnTo>
                    <a:pt x="2009" y="23"/>
                  </a:lnTo>
                  <a:lnTo>
                    <a:pt x="1996" y="27"/>
                  </a:lnTo>
                  <a:lnTo>
                    <a:pt x="1981" y="31"/>
                  </a:lnTo>
                  <a:lnTo>
                    <a:pt x="1964" y="35"/>
                  </a:lnTo>
                  <a:lnTo>
                    <a:pt x="1946" y="39"/>
                  </a:lnTo>
                  <a:lnTo>
                    <a:pt x="1928" y="43"/>
                  </a:lnTo>
                  <a:lnTo>
                    <a:pt x="1907" y="48"/>
                  </a:lnTo>
                  <a:lnTo>
                    <a:pt x="1887" y="53"/>
                  </a:lnTo>
                  <a:lnTo>
                    <a:pt x="1864" y="58"/>
                  </a:lnTo>
                  <a:lnTo>
                    <a:pt x="1840" y="63"/>
                  </a:lnTo>
                  <a:lnTo>
                    <a:pt x="1815" y="68"/>
                  </a:lnTo>
                  <a:lnTo>
                    <a:pt x="1790" y="73"/>
                  </a:lnTo>
                  <a:lnTo>
                    <a:pt x="1762" y="79"/>
                  </a:lnTo>
                  <a:lnTo>
                    <a:pt x="1733" y="85"/>
                  </a:lnTo>
                  <a:lnTo>
                    <a:pt x="1704" y="90"/>
                  </a:lnTo>
                  <a:lnTo>
                    <a:pt x="1673" y="96"/>
                  </a:lnTo>
                  <a:lnTo>
                    <a:pt x="1640" y="102"/>
                  </a:lnTo>
                  <a:lnTo>
                    <a:pt x="1607" y="107"/>
                  </a:lnTo>
                  <a:lnTo>
                    <a:pt x="1572" y="113"/>
                  </a:lnTo>
                  <a:lnTo>
                    <a:pt x="1536" y="119"/>
                  </a:lnTo>
                  <a:lnTo>
                    <a:pt x="1498" y="125"/>
                  </a:lnTo>
                  <a:lnTo>
                    <a:pt x="1429" y="135"/>
                  </a:lnTo>
                  <a:lnTo>
                    <a:pt x="1362" y="144"/>
                  </a:lnTo>
                  <a:lnTo>
                    <a:pt x="1298" y="152"/>
                  </a:lnTo>
                  <a:lnTo>
                    <a:pt x="1235" y="158"/>
                  </a:lnTo>
                  <a:lnTo>
                    <a:pt x="1175" y="163"/>
                  </a:lnTo>
                  <a:lnTo>
                    <a:pt x="1118" y="167"/>
                  </a:lnTo>
                  <a:lnTo>
                    <a:pt x="1061" y="171"/>
                  </a:lnTo>
                  <a:lnTo>
                    <a:pt x="1007" y="175"/>
                  </a:lnTo>
                  <a:lnTo>
                    <a:pt x="957" y="180"/>
                  </a:lnTo>
                  <a:lnTo>
                    <a:pt x="907" y="185"/>
                  </a:lnTo>
                  <a:lnTo>
                    <a:pt x="859" y="192"/>
                  </a:lnTo>
                  <a:lnTo>
                    <a:pt x="815" y="199"/>
                  </a:lnTo>
                  <a:lnTo>
                    <a:pt x="772" y="208"/>
                  </a:lnTo>
                  <a:lnTo>
                    <a:pt x="731" y="219"/>
                  </a:lnTo>
                  <a:lnTo>
                    <a:pt x="693" y="233"/>
                  </a:lnTo>
                  <a:lnTo>
                    <a:pt x="657" y="249"/>
                  </a:lnTo>
                  <a:lnTo>
                    <a:pt x="606" y="279"/>
                  </a:lnTo>
                  <a:lnTo>
                    <a:pt x="559" y="312"/>
                  </a:lnTo>
                  <a:lnTo>
                    <a:pt x="515" y="347"/>
                  </a:lnTo>
                  <a:lnTo>
                    <a:pt x="473" y="384"/>
                  </a:lnTo>
                  <a:lnTo>
                    <a:pt x="435" y="424"/>
                  </a:lnTo>
                  <a:lnTo>
                    <a:pt x="399" y="468"/>
                  </a:lnTo>
                  <a:lnTo>
                    <a:pt x="365" y="513"/>
                  </a:lnTo>
                  <a:lnTo>
                    <a:pt x="334" y="561"/>
                  </a:lnTo>
                  <a:lnTo>
                    <a:pt x="304" y="612"/>
                  </a:lnTo>
                  <a:lnTo>
                    <a:pt x="275" y="667"/>
                  </a:lnTo>
                  <a:lnTo>
                    <a:pt x="248" y="723"/>
                  </a:lnTo>
                  <a:lnTo>
                    <a:pt x="224" y="784"/>
                  </a:lnTo>
                  <a:lnTo>
                    <a:pt x="199" y="848"/>
                  </a:lnTo>
                  <a:lnTo>
                    <a:pt x="174" y="915"/>
                  </a:lnTo>
                  <a:lnTo>
                    <a:pt x="150" y="986"/>
                  </a:lnTo>
                  <a:lnTo>
                    <a:pt x="128" y="1060"/>
                  </a:lnTo>
                  <a:lnTo>
                    <a:pt x="113" y="1104"/>
                  </a:lnTo>
                  <a:lnTo>
                    <a:pt x="100" y="1149"/>
                  </a:lnTo>
                  <a:lnTo>
                    <a:pt x="77" y="1239"/>
                  </a:lnTo>
                  <a:lnTo>
                    <a:pt x="57" y="1331"/>
                  </a:lnTo>
                  <a:lnTo>
                    <a:pt x="42" y="1423"/>
                  </a:lnTo>
                  <a:lnTo>
                    <a:pt x="29" y="1512"/>
                  </a:lnTo>
                  <a:lnTo>
                    <a:pt x="19" y="1600"/>
                  </a:lnTo>
                  <a:lnTo>
                    <a:pt x="15" y="1643"/>
                  </a:lnTo>
                  <a:lnTo>
                    <a:pt x="12" y="1684"/>
                  </a:lnTo>
                  <a:lnTo>
                    <a:pt x="9" y="1725"/>
                  </a:lnTo>
                  <a:lnTo>
                    <a:pt x="7" y="1765"/>
                  </a:lnTo>
                  <a:lnTo>
                    <a:pt x="5" y="1803"/>
                  </a:lnTo>
                  <a:lnTo>
                    <a:pt x="3" y="1839"/>
                  </a:lnTo>
                  <a:lnTo>
                    <a:pt x="2" y="1874"/>
                  </a:lnTo>
                  <a:lnTo>
                    <a:pt x="1" y="1907"/>
                  </a:lnTo>
                  <a:lnTo>
                    <a:pt x="1" y="1939"/>
                  </a:lnTo>
                  <a:lnTo>
                    <a:pt x="0" y="1967"/>
                  </a:lnTo>
                  <a:lnTo>
                    <a:pt x="0" y="1994"/>
                  </a:lnTo>
                  <a:lnTo>
                    <a:pt x="1" y="2019"/>
                  </a:lnTo>
                  <a:lnTo>
                    <a:pt x="1" y="2042"/>
                  </a:lnTo>
                  <a:lnTo>
                    <a:pt x="1" y="2061"/>
                  </a:lnTo>
                  <a:lnTo>
                    <a:pt x="1" y="2079"/>
                  </a:lnTo>
                  <a:lnTo>
                    <a:pt x="2" y="2093"/>
                  </a:lnTo>
                  <a:lnTo>
                    <a:pt x="2" y="2104"/>
                  </a:lnTo>
                  <a:lnTo>
                    <a:pt x="3" y="2113"/>
                  </a:lnTo>
                  <a:lnTo>
                    <a:pt x="3" y="2117"/>
                  </a:lnTo>
                  <a:lnTo>
                    <a:pt x="3" y="2119"/>
                  </a:lnTo>
                  <a:lnTo>
                    <a:pt x="3" y="2119"/>
                  </a:lnTo>
                  <a:lnTo>
                    <a:pt x="4" y="2117"/>
                  </a:lnTo>
                  <a:lnTo>
                    <a:pt x="4" y="2114"/>
                  </a:lnTo>
                  <a:lnTo>
                    <a:pt x="5" y="2110"/>
                  </a:lnTo>
                  <a:lnTo>
                    <a:pt x="7" y="2104"/>
                  </a:lnTo>
                  <a:lnTo>
                    <a:pt x="8" y="2098"/>
                  </a:lnTo>
                  <a:lnTo>
                    <a:pt x="10" y="2091"/>
                  </a:lnTo>
                  <a:lnTo>
                    <a:pt x="12" y="2082"/>
                  </a:lnTo>
                  <a:lnTo>
                    <a:pt x="18" y="2062"/>
                  </a:lnTo>
                  <a:lnTo>
                    <a:pt x="24" y="2040"/>
                  </a:lnTo>
                  <a:lnTo>
                    <a:pt x="32" y="2013"/>
                  </a:lnTo>
                  <a:lnTo>
                    <a:pt x="40" y="1983"/>
                  </a:lnTo>
                  <a:lnTo>
                    <a:pt x="49" y="1950"/>
                  </a:lnTo>
                  <a:lnTo>
                    <a:pt x="59" y="1914"/>
                  </a:lnTo>
                  <a:lnTo>
                    <a:pt x="71" y="1877"/>
                  </a:lnTo>
                  <a:lnTo>
                    <a:pt x="83" y="1837"/>
                  </a:lnTo>
                  <a:lnTo>
                    <a:pt x="96" y="1794"/>
                  </a:lnTo>
                  <a:lnTo>
                    <a:pt x="110" y="1751"/>
                  </a:lnTo>
                  <a:lnTo>
                    <a:pt x="123" y="1706"/>
                  </a:lnTo>
                  <a:lnTo>
                    <a:pt x="139" y="1659"/>
                  </a:lnTo>
                  <a:lnTo>
                    <a:pt x="171" y="1565"/>
                  </a:lnTo>
                  <a:lnTo>
                    <a:pt x="205" y="1468"/>
                  </a:lnTo>
                  <a:lnTo>
                    <a:pt x="241" y="1372"/>
                  </a:lnTo>
                  <a:lnTo>
                    <a:pt x="260" y="1325"/>
                  </a:lnTo>
                  <a:lnTo>
                    <a:pt x="278" y="1277"/>
                  </a:lnTo>
                  <a:lnTo>
                    <a:pt x="298" y="1232"/>
                  </a:lnTo>
                  <a:lnTo>
                    <a:pt x="317" y="1189"/>
                  </a:lnTo>
                  <a:lnTo>
                    <a:pt x="337" y="1145"/>
                  </a:lnTo>
                  <a:lnTo>
                    <a:pt x="358" y="1105"/>
                  </a:lnTo>
                  <a:lnTo>
                    <a:pt x="377" y="1066"/>
                  </a:lnTo>
                  <a:lnTo>
                    <a:pt x="398" y="1030"/>
                  </a:lnTo>
                  <a:lnTo>
                    <a:pt x="419" y="997"/>
                  </a:lnTo>
                  <a:lnTo>
                    <a:pt x="438" y="966"/>
                  </a:lnTo>
                  <a:lnTo>
                    <a:pt x="453" y="944"/>
                  </a:lnTo>
                  <a:lnTo>
                    <a:pt x="467" y="922"/>
                  </a:lnTo>
                  <a:lnTo>
                    <a:pt x="481" y="901"/>
                  </a:lnTo>
                  <a:lnTo>
                    <a:pt x="494" y="881"/>
                  </a:lnTo>
                  <a:lnTo>
                    <a:pt x="520" y="845"/>
                  </a:lnTo>
                  <a:lnTo>
                    <a:pt x="544" y="813"/>
                  </a:lnTo>
                  <a:lnTo>
                    <a:pt x="565" y="784"/>
                  </a:lnTo>
                  <a:lnTo>
                    <a:pt x="586" y="758"/>
                  </a:lnTo>
                  <a:lnTo>
                    <a:pt x="604" y="736"/>
                  </a:lnTo>
                  <a:lnTo>
                    <a:pt x="622" y="717"/>
                  </a:lnTo>
                  <a:lnTo>
                    <a:pt x="636" y="701"/>
                  </a:lnTo>
                  <a:lnTo>
                    <a:pt x="650" y="687"/>
                  </a:lnTo>
                  <a:lnTo>
                    <a:pt x="661" y="677"/>
                  </a:lnTo>
                  <a:lnTo>
                    <a:pt x="671" y="669"/>
                  </a:lnTo>
                  <a:lnTo>
                    <a:pt x="679" y="662"/>
                  </a:lnTo>
                  <a:lnTo>
                    <a:pt x="684" y="657"/>
                  </a:lnTo>
                  <a:lnTo>
                    <a:pt x="687" y="655"/>
                  </a:lnTo>
                  <a:lnTo>
                    <a:pt x="688" y="654"/>
                  </a:lnTo>
                  <a:lnTo>
                    <a:pt x="687" y="656"/>
                  </a:lnTo>
                  <a:lnTo>
                    <a:pt x="685" y="661"/>
                  </a:lnTo>
                  <a:lnTo>
                    <a:pt x="683" y="670"/>
                  </a:lnTo>
                  <a:lnTo>
                    <a:pt x="679" y="681"/>
                  </a:lnTo>
                  <a:lnTo>
                    <a:pt x="675" y="694"/>
                  </a:lnTo>
                  <a:lnTo>
                    <a:pt x="670" y="711"/>
                  </a:lnTo>
                  <a:lnTo>
                    <a:pt x="665" y="728"/>
                  </a:lnTo>
                  <a:lnTo>
                    <a:pt x="661" y="748"/>
                  </a:lnTo>
                  <a:lnTo>
                    <a:pt x="657" y="770"/>
                  </a:lnTo>
                  <a:lnTo>
                    <a:pt x="653" y="791"/>
                  </a:lnTo>
                  <a:lnTo>
                    <a:pt x="650" y="815"/>
                  </a:lnTo>
                  <a:lnTo>
                    <a:pt x="649" y="839"/>
                  </a:lnTo>
                  <a:lnTo>
                    <a:pt x="648" y="863"/>
                  </a:lnTo>
                  <a:lnTo>
                    <a:pt x="649" y="887"/>
                  </a:lnTo>
                  <a:lnTo>
                    <a:pt x="652" y="912"/>
                  </a:lnTo>
                  <a:lnTo>
                    <a:pt x="657" y="935"/>
                  </a:lnTo>
                  <a:lnTo>
                    <a:pt x="663" y="987"/>
                  </a:lnTo>
                  <a:lnTo>
                    <a:pt x="672" y="1037"/>
                  </a:lnTo>
                  <a:lnTo>
                    <a:pt x="680" y="1085"/>
                  </a:lnTo>
                  <a:lnTo>
                    <a:pt x="689" y="1131"/>
                  </a:lnTo>
                  <a:lnTo>
                    <a:pt x="699" y="1175"/>
                  </a:lnTo>
                  <a:lnTo>
                    <a:pt x="710" y="1216"/>
                  </a:lnTo>
                  <a:lnTo>
                    <a:pt x="720" y="1255"/>
                  </a:lnTo>
                  <a:lnTo>
                    <a:pt x="731" y="1290"/>
                  </a:lnTo>
                  <a:lnTo>
                    <a:pt x="741" y="1322"/>
                  </a:lnTo>
                  <a:lnTo>
                    <a:pt x="750" y="1349"/>
                  </a:lnTo>
                  <a:lnTo>
                    <a:pt x="759" y="1374"/>
                  </a:lnTo>
                  <a:lnTo>
                    <a:pt x="762" y="1385"/>
                  </a:lnTo>
                  <a:lnTo>
                    <a:pt x="767" y="1395"/>
                  </a:lnTo>
                  <a:lnTo>
                    <a:pt x="770" y="1404"/>
                  </a:lnTo>
                  <a:lnTo>
                    <a:pt x="773" y="1411"/>
                  </a:lnTo>
                  <a:lnTo>
                    <a:pt x="776" y="1418"/>
                  </a:lnTo>
                  <a:lnTo>
                    <a:pt x="778" y="1424"/>
                  </a:lnTo>
                  <a:lnTo>
                    <a:pt x="779" y="1428"/>
                  </a:lnTo>
                  <a:lnTo>
                    <a:pt x="781" y="1431"/>
                  </a:lnTo>
                  <a:lnTo>
                    <a:pt x="781" y="1433"/>
                  </a:lnTo>
                  <a:lnTo>
                    <a:pt x="782" y="1434"/>
                  </a:lnTo>
                  <a:lnTo>
                    <a:pt x="782" y="1432"/>
                  </a:lnTo>
                  <a:lnTo>
                    <a:pt x="782" y="1427"/>
                  </a:lnTo>
                  <a:lnTo>
                    <a:pt x="783" y="1418"/>
                  </a:lnTo>
                  <a:lnTo>
                    <a:pt x="783" y="1407"/>
                  </a:lnTo>
                  <a:lnTo>
                    <a:pt x="784" y="1394"/>
                  </a:lnTo>
                  <a:lnTo>
                    <a:pt x="786" y="1377"/>
                  </a:lnTo>
                  <a:lnTo>
                    <a:pt x="788" y="1358"/>
                  </a:lnTo>
                  <a:lnTo>
                    <a:pt x="790" y="1337"/>
                  </a:lnTo>
                  <a:lnTo>
                    <a:pt x="792" y="1313"/>
                  </a:lnTo>
                  <a:lnTo>
                    <a:pt x="795" y="1288"/>
                  </a:lnTo>
                  <a:lnTo>
                    <a:pt x="799" y="1261"/>
                  </a:lnTo>
                  <a:lnTo>
                    <a:pt x="803" y="1231"/>
                  </a:lnTo>
                  <a:lnTo>
                    <a:pt x="808" y="1201"/>
                  </a:lnTo>
                  <a:lnTo>
                    <a:pt x="813" y="1169"/>
                  </a:lnTo>
                  <a:lnTo>
                    <a:pt x="818" y="1136"/>
                  </a:lnTo>
                  <a:lnTo>
                    <a:pt x="824" y="1102"/>
                  </a:lnTo>
                  <a:lnTo>
                    <a:pt x="839" y="1032"/>
                  </a:lnTo>
                  <a:lnTo>
                    <a:pt x="856" y="960"/>
                  </a:lnTo>
                  <a:lnTo>
                    <a:pt x="876" y="888"/>
                  </a:lnTo>
                  <a:lnTo>
                    <a:pt x="900" y="816"/>
                  </a:lnTo>
                  <a:lnTo>
                    <a:pt x="927" y="746"/>
                  </a:lnTo>
                  <a:lnTo>
                    <a:pt x="942" y="712"/>
                  </a:lnTo>
                  <a:lnTo>
                    <a:pt x="958" y="679"/>
                  </a:lnTo>
                  <a:lnTo>
                    <a:pt x="974" y="647"/>
                  </a:lnTo>
                  <a:lnTo>
                    <a:pt x="993" y="617"/>
                  </a:lnTo>
                  <a:lnTo>
                    <a:pt x="1011" y="588"/>
                  </a:lnTo>
                  <a:lnTo>
                    <a:pt x="1031" y="561"/>
                  </a:lnTo>
                  <a:lnTo>
                    <a:pt x="1055" y="533"/>
                  </a:lnTo>
                  <a:lnTo>
                    <a:pt x="1080" y="506"/>
                  </a:lnTo>
                  <a:lnTo>
                    <a:pt x="1107" y="480"/>
                  </a:lnTo>
                  <a:lnTo>
                    <a:pt x="1136" y="455"/>
                  </a:lnTo>
                  <a:lnTo>
                    <a:pt x="1165" y="433"/>
                  </a:lnTo>
                  <a:lnTo>
                    <a:pt x="1196" y="410"/>
                  </a:lnTo>
                  <a:lnTo>
                    <a:pt x="1228" y="389"/>
                  </a:lnTo>
                  <a:lnTo>
                    <a:pt x="1261" y="370"/>
                  </a:lnTo>
                  <a:lnTo>
                    <a:pt x="1295" y="351"/>
                  </a:lnTo>
                  <a:lnTo>
                    <a:pt x="1330" y="334"/>
                  </a:lnTo>
                  <a:lnTo>
                    <a:pt x="1403" y="302"/>
                  </a:lnTo>
                  <a:lnTo>
                    <a:pt x="1481" y="274"/>
                  </a:lnTo>
                  <a:lnTo>
                    <a:pt x="1560" y="249"/>
                  </a:lnTo>
                  <a:lnTo>
                    <a:pt x="1603" y="236"/>
                  </a:lnTo>
                  <a:lnTo>
                    <a:pt x="1646" y="221"/>
                  </a:lnTo>
                  <a:lnTo>
                    <a:pt x="1690" y="203"/>
                  </a:lnTo>
                  <a:lnTo>
                    <a:pt x="1736" y="184"/>
                  </a:lnTo>
                  <a:lnTo>
                    <a:pt x="1780" y="164"/>
                  </a:lnTo>
                  <a:lnTo>
                    <a:pt x="1825" y="143"/>
                  </a:lnTo>
                  <a:lnTo>
                    <a:pt x="1867" y="122"/>
                  </a:lnTo>
                  <a:lnTo>
                    <a:pt x="1907" y="101"/>
                  </a:lnTo>
                  <a:lnTo>
                    <a:pt x="1945" y="81"/>
                  </a:lnTo>
                  <a:lnTo>
                    <a:pt x="1981" y="63"/>
                  </a:lnTo>
                  <a:lnTo>
                    <a:pt x="1996" y="54"/>
                  </a:lnTo>
                  <a:lnTo>
                    <a:pt x="2012" y="45"/>
                  </a:lnTo>
                  <a:lnTo>
                    <a:pt x="2026" y="37"/>
                  </a:lnTo>
                  <a:lnTo>
                    <a:pt x="2038" y="30"/>
                  </a:lnTo>
                  <a:lnTo>
                    <a:pt x="2050" y="24"/>
                  </a:lnTo>
                  <a:lnTo>
                    <a:pt x="2060" y="18"/>
                  </a:lnTo>
                  <a:lnTo>
                    <a:pt x="2069" y="12"/>
                  </a:lnTo>
                  <a:lnTo>
                    <a:pt x="2077" y="8"/>
                  </a:lnTo>
                  <a:lnTo>
                    <a:pt x="2083" y="4"/>
                  </a:lnTo>
                  <a:lnTo>
                    <a:pt x="2087" y="2"/>
                  </a:lnTo>
                  <a:lnTo>
                    <a:pt x="2090" y="0"/>
                  </a:lnTo>
                  <a:lnTo>
                    <a:pt x="2090" y="0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92" name="Rectangle 91">
            <a:extLst>
              <a:ext uri="{FF2B5EF4-FFF2-40B4-BE49-F238E27FC236}">
                <a16:creationId xmlns:a16="http://schemas.microsoft.com/office/drawing/2014/main" id="{ADCB65B4-FFE4-4D15-BBF3-18F6A0C4574D}"/>
              </a:ext>
            </a:extLst>
          </p:cNvPr>
          <p:cNvSpPr/>
          <p:nvPr/>
        </p:nvSpPr>
        <p:spPr>
          <a:xfrm>
            <a:off x="5809379" y="5272709"/>
            <a:ext cx="68961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Hadoop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93" name="Picture 2" descr="Image result for databricks">
            <a:extLst>
              <a:ext uri="{FF2B5EF4-FFF2-40B4-BE49-F238E27FC236}">
                <a16:creationId xmlns:a16="http://schemas.microsoft.com/office/drawing/2014/main" id="{7C6DDAD6-DC6A-4E41-B0C5-535F5D67FB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09409" y="4558775"/>
            <a:ext cx="719136" cy="719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4" name="Rectangle 93">
            <a:extLst>
              <a:ext uri="{FF2B5EF4-FFF2-40B4-BE49-F238E27FC236}">
                <a16:creationId xmlns:a16="http://schemas.microsoft.com/office/drawing/2014/main" id="{42E793E9-9C9A-4BE4-94E5-8F8ACF2B04FE}"/>
              </a:ext>
            </a:extLst>
          </p:cNvPr>
          <p:cNvSpPr/>
          <p:nvPr/>
        </p:nvSpPr>
        <p:spPr>
          <a:xfrm>
            <a:off x="6664419" y="5288798"/>
            <a:ext cx="83869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Databricks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96" name="Picture 4">
            <a:extLst>
              <a:ext uri="{FF2B5EF4-FFF2-40B4-BE49-F238E27FC236}">
                <a16:creationId xmlns:a16="http://schemas.microsoft.com/office/drawing/2014/main" id="{6A823F96-BB1A-45E7-A885-C4B33B6CB7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1293" y="4851200"/>
            <a:ext cx="597791" cy="3112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5E900282-489C-43BC-897B-E085EF33ED25}"/>
              </a:ext>
            </a:extLst>
          </p:cNvPr>
          <p:cNvSpPr/>
          <p:nvPr/>
        </p:nvSpPr>
        <p:spPr>
          <a:xfrm>
            <a:off x="9710440" y="5300852"/>
            <a:ext cx="123303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Azure Data Lake </a:t>
            </a:r>
            <a:b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</a:br>
            <a: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Storage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0177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39E4A3-6782-4ABD-BC3F-F8AF5A632C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144307"/>
            <a:ext cx="10688782" cy="1325563"/>
          </a:xfrm>
        </p:spPr>
        <p:txBody>
          <a:bodyPr/>
          <a:lstStyle/>
          <a:p>
            <a:r>
              <a:rPr lang="en-US" dirty="0"/>
              <a:t>Azure SQL Database Family</a:t>
            </a:r>
          </a:p>
        </p:txBody>
      </p:sp>
      <p:pic>
        <p:nvPicPr>
          <p:cNvPr id="8194" name="Picture 2" descr="Synapse SQL architecture">
            <a:extLst>
              <a:ext uri="{FF2B5EF4-FFF2-40B4-BE49-F238E27FC236}">
                <a16:creationId xmlns:a16="http://schemas.microsoft.com/office/drawing/2014/main" id="{1786A6F8-E5F4-4ECA-B52F-5F5FA56B83AA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752" r="53989"/>
          <a:stretch/>
        </p:blipFill>
        <p:spPr bwMode="auto">
          <a:xfrm>
            <a:off x="7315200" y="2085172"/>
            <a:ext cx="4666977" cy="3965739"/>
          </a:xfrm>
          <a:prstGeom prst="rect">
            <a:avLst/>
          </a:prstGeom>
          <a:noFill/>
          <a:ln w="6350">
            <a:solidFill>
              <a:schemeClr val="accent1">
                <a:shade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40612BE-42D1-4CF7-AD37-BC1981F4B049}"/>
              </a:ext>
            </a:extLst>
          </p:cNvPr>
          <p:cNvSpPr txBox="1"/>
          <p:nvPr/>
        </p:nvSpPr>
        <p:spPr>
          <a:xfrm>
            <a:off x="2651029" y="1610324"/>
            <a:ext cx="4423510" cy="362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7"/>
            <a:r>
              <a:rPr lang="en-US" sz="1765" u="sng" dirty="0">
                <a:solidFill>
                  <a:prstClr val="black"/>
                </a:solidFill>
                <a:latin typeface="Calibri" panose="020F0502020204030204"/>
              </a:rPr>
              <a:t>Azure SQL Server Hypersca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0122408-E9E1-4E17-B891-C153F4BF8065}"/>
              </a:ext>
            </a:extLst>
          </p:cNvPr>
          <p:cNvSpPr txBox="1"/>
          <p:nvPr/>
        </p:nvSpPr>
        <p:spPr>
          <a:xfrm>
            <a:off x="7569291" y="1607913"/>
            <a:ext cx="4367114" cy="3639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7"/>
            <a:r>
              <a:rPr lang="en-US" sz="1765" u="sng" dirty="0">
                <a:solidFill>
                  <a:prstClr val="black"/>
                </a:solidFill>
                <a:latin typeface="Calibri" panose="020F0502020204030204"/>
              </a:rPr>
              <a:t>Azure Synapse Analytics SQL Pool</a:t>
            </a:r>
          </a:p>
        </p:txBody>
      </p:sp>
      <p:pic>
        <p:nvPicPr>
          <p:cNvPr id="3074" name="Picture 2" descr="AzureSQLDB Hyperscale PublicPreview - FunctionalSchema">
            <a:extLst>
              <a:ext uri="{FF2B5EF4-FFF2-40B4-BE49-F238E27FC236}">
                <a16:creationId xmlns:a16="http://schemas.microsoft.com/office/drawing/2014/main" id="{E0863435-FFF2-4181-B91C-21C9ED7B4E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4814" y="2085172"/>
            <a:ext cx="4524162" cy="4052895"/>
          </a:xfrm>
          <a:prstGeom prst="rect">
            <a:avLst/>
          </a:prstGeom>
          <a:noFill/>
          <a:ln w="6350">
            <a:solidFill>
              <a:schemeClr val="accent1">
                <a:shade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E9CDF67-624A-4D9D-B888-0FCD925C3425}"/>
              </a:ext>
            </a:extLst>
          </p:cNvPr>
          <p:cNvSpPr txBox="1"/>
          <p:nvPr/>
        </p:nvSpPr>
        <p:spPr>
          <a:xfrm>
            <a:off x="51614" y="1608850"/>
            <a:ext cx="2521339" cy="362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7"/>
            <a:r>
              <a:rPr lang="en-US" sz="1765" u="sng" dirty="0">
                <a:solidFill>
                  <a:prstClr val="black"/>
                </a:solidFill>
                <a:latin typeface="Calibri" panose="020F0502020204030204"/>
              </a:rPr>
              <a:t>Azure SQL DB</a:t>
            </a:r>
          </a:p>
        </p:txBody>
      </p:sp>
      <p:sp>
        <p:nvSpPr>
          <p:cNvPr id="14" name="Cylinder 13">
            <a:extLst>
              <a:ext uri="{FF2B5EF4-FFF2-40B4-BE49-F238E27FC236}">
                <a16:creationId xmlns:a16="http://schemas.microsoft.com/office/drawing/2014/main" id="{78C8275F-A696-422D-BBED-D5B40D52C1F0}"/>
              </a:ext>
            </a:extLst>
          </p:cNvPr>
          <p:cNvSpPr/>
          <p:nvPr/>
        </p:nvSpPr>
        <p:spPr>
          <a:xfrm>
            <a:off x="789709" y="2279465"/>
            <a:ext cx="951807" cy="935182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B</a:t>
            </a:r>
          </a:p>
          <a:p>
            <a:pPr algn="ctr"/>
            <a:r>
              <a:rPr lang="en-US" dirty="0"/>
              <a:t>[Cache]</a:t>
            </a:r>
            <a:endParaRPr lang="en-CH" dirty="0"/>
          </a:p>
        </p:txBody>
      </p:sp>
      <p:sp>
        <p:nvSpPr>
          <p:cNvPr id="15" name="Arrow: Up-Down 14">
            <a:extLst>
              <a:ext uri="{FF2B5EF4-FFF2-40B4-BE49-F238E27FC236}">
                <a16:creationId xmlns:a16="http://schemas.microsoft.com/office/drawing/2014/main" id="{20EBFD84-376A-4B2B-805F-6475730773F5}"/>
              </a:ext>
            </a:extLst>
          </p:cNvPr>
          <p:cNvSpPr/>
          <p:nvPr/>
        </p:nvSpPr>
        <p:spPr>
          <a:xfrm>
            <a:off x="1071214" y="3168925"/>
            <a:ext cx="332509" cy="602673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3076" name="Picture 4" descr="Azure Blob Storage Integration: How to Connect to Azure Blob | Cleo">
            <a:extLst>
              <a:ext uri="{FF2B5EF4-FFF2-40B4-BE49-F238E27FC236}">
                <a16:creationId xmlns:a16="http://schemas.microsoft.com/office/drawing/2014/main" id="{0F9D7846-C473-4B88-BDD3-A1D40E8C04C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91" r="21898"/>
          <a:stretch/>
        </p:blipFill>
        <p:spPr bwMode="auto">
          <a:xfrm>
            <a:off x="908857" y="3771598"/>
            <a:ext cx="727365" cy="585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Serverlose Computeebene - Azure SQL Database | Microsoft Docs">
            <a:extLst>
              <a:ext uri="{FF2B5EF4-FFF2-40B4-BE49-F238E27FC236}">
                <a16:creationId xmlns:a16="http://schemas.microsoft.com/office/drawing/2014/main" id="{9E35F000-73CC-4A59-BD54-3C3D5615FD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493" y="4884836"/>
            <a:ext cx="2062460" cy="12532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3591447C-0E5D-420C-9E2E-C86A9A8E7D95}"/>
              </a:ext>
            </a:extLst>
          </p:cNvPr>
          <p:cNvSpPr txBox="1"/>
          <p:nvPr/>
        </p:nvSpPr>
        <p:spPr>
          <a:xfrm>
            <a:off x="143053" y="4532467"/>
            <a:ext cx="2521339" cy="362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7"/>
            <a:r>
              <a:rPr lang="en-US" sz="1765" u="sng" dirty="0">
                <a:solidFill>
                  <a:prstClr val="black"/>
                </a:solidFill>
                <a:latin typeface="Calibri" panose="020F0502020204030204"/>
              </a:rPr>
              <a:t>Azure SQL Serverless</a:t>
            </a:r>
          </a:p>
        </p:txBody>
      </p:sp>
    </p:spTree>
    <p:extLst>
      <p:ext uri="{BB962C8B-B14F-4D97-AF65-F5344CB8AC3E}">
        <p14:creationId xmlns:p14="http://schemas.microsoft.com/office/powerpoint/2010/main" val="23352139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7" grpId="0"/>
    </p:bld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BC3A07-219C-4AFC-9320-2824FA100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alabilit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3966D3-FD3D-4F0C-8733-E64236F041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825853"/>
            <a:ext cx="10515600" cy="1067168"/>
          </a:xfrm>
        </p:spPr>
        <p:txBody>
          <a:bodyPr>
            <a:normAutofit/>
          </a:bodyPr>
          <a:lstStyle/>
          <a:p>
            <a:r>
              <a:rPr lang="en-US" sz="1961" dirty="0">
                <a:hlinkClick r:id="rId2"/>
              </a:rPr>
              <a:t>Build your full-PaaS IoT solution with Azure SQL Database - Microsoft Tech Community</a:t>
            </a:r>
            <a:endParaRPr lang="en-US" sz="1961" dirty="0"/>
          </a:p>
          <a:p>
            <a:pPr lvl="1"/>
            <a:r>
              <a:rPr lang="en-US" sz="1561" dirty="0">
                <a:hlinkClick r:id="rId3"/>
              </a:rPr>
              <a:t>Scaling up an IoT workload using an M-series Azure SQL database - Microsoft Tech Community</a:t>
            </a:r>
            <a:endParaRPr lang="en-US" sz="1561" dirty="0"/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CD2A7FC6-FE02-49B1-A134-6340309103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201" y="2653278"/>
            <a:ext cx="9330520" cy="3697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16841366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59A253-1F48-475E-BECD-CF776517C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Data Volume </a:t>
            </a:r>
            <a:br>
              <a:rPr lang="en-US" dirty="0"/>
            </a:br>
            <a:r>
              <a:rPr lang="en-US" sz="2400" dirty="0"/>
              <a:t>(after ~ 6 months up and running)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FFA177-DC3E-4EEF-8BD0-E370C137D9A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      20’000’000 events per day</a:t>
            </a:r>
          </a:p>
          <a:p>
            <a:pPr lvl="1"/>
            <a:r>
              <a:rPr lang="en-US" dirty="0"/>
              <a:t>Avg 	230 events per second</a:t>
            </a:r>
          </a:p>
          <a:p>
            <a:pPr lvl="1"/>
            <a:r>
              <a:rPr lang="en-US" dirty="0"/>
              <a:t>Peak  20’000 events per second</a:t>
            </a:r>
          </a:p>
          <a:p>
            <a:r>
              <a:rPr lang="en-US" dirty="0"/>
              <a:t>3'881'478'093 events currently stored in databas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  <a:p>
            <a:r>
              <a:rPr lang="en-US" dirty="0"/>
              <a:t>Multiple ML Jobs running in the background</a:t>
            </a:r>
          </a:p>
          <a:p>
            <a:r>
              <a:rPr lang="en-US" dirty="0"/>
              <a:t>~ 20 Interactive Users </a:t>
            </a:r>
          </a:p>
        </p:txBody>
      </p:sp>
    </p:spTree>
    <p:extLst>
      <p:ext uri="{BB962C8B-B14F-4D97-AF65-F5344CB8AC3E}">
        <p14:creationId xmlns:p14="http://schemas.microsoft.com/office/powerpoint/2010/main" val="1677289257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D2231E-5AF9-4376-83D0-E7A46BB330E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379F469-78BC-4AEE-A21F-9451D51DECD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D74F498-0D0C-4A73-A1D1-0C9F971301D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51116"/>
            <a:ext cx="12492781" cy="6909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0240609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6C4F39E2-D8D5-46FA-A135-21014084368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51116"/>
            <a:ext cx="12492781" cy="690911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F288232-4544-4806-948D-737014D9A77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40" y="3878346"/>
            <a:ext cx="5124459" cy="242808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279EB39-AD0E-4DF2-BDD8-74392FDBA56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13089" y="1750970"/>
            <a:ext cx="4117834" cy="111125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8746384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D4C892-B8AA-4AF4-9F6B-2E75D4D168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Stream Analytic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5F7A7C-1A50-475E-B181-33E1048315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671759" cy="2299426"/>
          </a:xfrm>
        </p:spPr>
        <p:txBody>
          <a:bodyPr>
            <a:normAutofit/>
          </a:bodyPr>
          <a:lstStyle/>
          <a:p>
            <a:r>
              <a:rPr lang="en-US" sz="18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Azure Stream Analytics is a real-time analytics and complex event-processing engine that is designed to analyze and process high volumes of fast streaming data from multiple sources simultaneously. </a:t>
            </a:r>
            <a:br>
              <a:rPr lang="en-US" sz="11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</a:br>
            <a:br>
              <a:rPr lang="en-US" sz="11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</a:br>
            <a:br>
              <a:rPr lang="en-US" sz="11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</a:br>
            <a:r>
              <a:rPr lang="en-US" sz="11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                   </a:t>
            </a:r>
            <a:r>
              <a:rPr lang="en-US" sz="1200" dirty="0">
                <a:hlinkClick r:id="rId2"/>
              </a:rPr>
              <a:t>Azure Stream Analytics | Microsoft Azure</a:t>
            </a:r>
            <a:endParaRPr lang="en-CH" sz="1800" dirty="0"/>
          </a:p>
        </p:txBody>
      </p:sp>
      <p:pic>
        <p:nvPicPr>
          <p:cNvPr id="1026" name="Picture 2" descr="Stream Analytics intro pipeline">
            <a:extLst>
              <a:ext uri="{FF2B5EF4-FFF2-40B4-BE49-F238E27FC236}">
                <a16:creationId xmlns:a16="http://schemas.microsoft.com/office/drawing/2014/main" id="{9B3228D6-6DAE-4E56-BF1F-0954A4002E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3403" y="2975338"/>
            <a:ext cx="8270605" cy="3482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3854859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49D949-CE3D-41B0-A990-9D67263ECE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Scale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870AB4-DAB2-4499-B87E-93356E344CE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6C558BC-8D81-4A09-BA86-E3E6C46D386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304638"/>
            <a:ext cx="12192000" cy="5553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4390805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11B149-80E9-466E-8AD3-5DD41AB51C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tilizatio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FF8200A-8CFA-4D07-A69C-74B9958EEF5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3237" y="2743199"/>
            <a:ext cx="3320144" cy="298805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3F4C786-E734-4D8C-9BA4-7DF90812200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19129" y="1690688"/>
            <a:ext cx="8379634" cy="4938490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CCFC9F0-A784-45A3-8B37-64981DCABB9B}"/>
              </a:ext>
            </a:extLst>
          </p:cNvPr>
          <p:cNvCxnSpPr/>
          <p:nvPr/>
        </p:nvCxnSpPr>
        <p:spPr>
          <a:xfrm>
            <a:off x="1408517" y="3140765"/>
            <a:ext cx="1845838" cy="403245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5897E9C-99D6-4BFF-B92A-DF5E2E73F6AB}"/>
              </a:ext>
            </a:extLst>
          </p:cNvPr>
          <p:cNvCxnSpPr>
            <a:cxnSpLocks/>
          </p:cNvCxnSpPr>
          <p:nvPr/>
        </p:nvCxnSpPr>
        <p:spPr>
          <a:xfrm flipV="1">
            <a:off x="1408517" y="4992284"/>
            <a:ext cx="1845838" cy="738970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7762753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/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/>
              <a:t>Poor man’s digital twin </a:t>
            </a:r>
          </a:p>
          <a:p>
            <a:pPr lvl="1"/>
            <a:r>
              <a:rPr lang="en-US" dirty="0"/>
              <a:t>Restrict Data Access</a:t>
            </a:r>
          </a:p>
          <a:p>
            <a:pPr lvl="1"/>
            <a:r>
              <a:rPr lang="en-US" dirty="0"/>
              <a:t>Efficient Queries</a:t>
            </a:r>
          </a:p>
          <a:p>
            <a:pPr lvl="1"/>
            <a:r>
              <a:rPr lang="en-US" dirty="0"/>
              <a:t>Monitor activity/reset the database</a:t>
            </a:r>
          </a:p>
          <a:p>
            <a:r>
              <a:rPr lang="en-US" dirty="0"/>
              <a:t>Database Tiers</a:t>
            </a:r>
          </a:p>
          <a:p>
            <a:r>
              <a:rPr lang="en-US" dirty="0">
                <a:highlight>
                  <a:srgbClr val="FFFF00"/>
                </a:highlight>
              </a:rPr>
              <a:t>Conclusion and next Steps</a:t>
            </a:r>
          </a:p>
          <a:p>
            <a:pPr marL="457200" lvl="1" indent="0">
              <a:buNone/>
            </a:pP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993138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D5C7E9-F598-44C8-9417-C6B5551106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IoT Hub (Edge)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84B809-4863-4CE7-B99A-DA0A1E038F2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400" dirty="0">
                <a:solidFill>
                  <a:srgbClr val="171717"/>
                </a:solidFill>
                <a:latin typeface="Segoe UI" panose="020B0502040204020203" pitchFamily="34" charset="0"/>
              </a:rPr>
              <a:t>IoT Hub is a managed service hosted in the cloud that acts as a central message hub for communication between an IoT application and its attached devices. </a:t>
            </a:r>
            <a:br>
              <a:rPr lang="en-US" sz="1400" dirty="0">
                <a:solidFill>
                  <a:srgbClr val="171717"/>
                </a:solidFill>
                <a:latin typeface="Segoe UI" panose="020B0502040204020203" pitchFamily="34" charset="0"/>
              </a:rPr>
            </a:br>
            <a:r>
              <a:rPr lang="en-US" sz="1400" dirty="0">
                <a:solidFill>
                  <a:srgbClr val="171717"/>
                </a:solidFill>
                <a:latin typeface="Segoe UI" panose="020B0502040204020203" pitchFamily="34" charset="0"/>
              </a:rPr>
              <a:t>You can connect millions of devices and their backend solutions reliably and securely. Almost any device can be connected to an IoT Hub.</a:t>
            </a:r>
          </a:p>
          <a:p>
            <a:r>
              <a:rPr lang="en-US" sz="14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Several messaging patterns are supported, including device-to-cloud telemetry, uploading files from devices, and request-reply methods to control your devices from the cloud. </a:t>
            </a:r>
            <a:br>
              <a:rPr lang="en-US" sz="14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</a:br>
            <a:r>
              <a:rPr lang="en-US" sz="14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IoT Hub also supports monitoring to help you track device creation, device connections, and device failures.</a:t>
            </a:r>
          </a:p>
          <a:p>
            <a:r>
              <a:rPr lang="en-US" sz="14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Azure IoT Edge moves cloud analytics and custom business logic to devices so that your organization can focus on business insights instead of data management. </a:t>
            </a:r>
            <a:endParaRPr lang="en-CH" sz="2000" dirty="0"/>
          </a:p>
        </p:txBody>
      </p:sp>
      <p:pic>
        <p:nvPicPr>
          <p:cNvPr id="2050" name="Picture 2" descr="Azure IoT Hub Overview - CodeProject">
            <a:extLst>
              <a:ext uri="{FF2B5EF4-FFF2-40B4-BE49-F238E27FC236}">
                <a16:creationId xmlns:a16="http://schemas.microsoft.com/office/drawing/2014/main" id="{82D672F1-2A59-4CD7-B570-056D919EE9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318" y="4481384"/>
            <a:ext cx="4829175" cy="1495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029036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A7B67-73A5-4950-ADC1-081A053A07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ingest and presentation</a:t>
            </a:r>
          </a:p>
        </p:txBody>
      </p:sp>
      <p:pic>
        <p:nvPicPr>
          <p:cNvPr id="5" name="Picture 2" descr="Microsoft BI Tools: Azure Stream Analytics">
            <a:extLst>
              <a:ext uri="{FF2B5EF4-FFF2-40B4-BE49-F238E27FC236}">
                <a16:creationId xmlns:a16="http://schemas.microsoft.com/office/drawing/2014/main" id="{DCF5535F-263B-4DC5-A86C-1F4F6BB8C7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5650" y="3476690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AA705E7-3F55-47D0-A7D9-25BC1CA83B55}"/>
              </a:ext>
            </a:extLst>
          </p:cNvPr>
          <p:cNvSpPr txBox="1"/>
          <p:nvPr/>
        </p:nvSpPr>
        <p:spPr>
          <a:xfrm>
            <a:off x="2359336" y="3999184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pic>
        <p:nvPicPr>
          <p:cNvPr id="9" name="Picture 2" descr="Azure SQL Database with Elastic pools – Lee's Tech Blog">
            <a:extLst>
              <a:ext uri="{FF2B5EF4-FFF2-40B4-BE49-F238E27FC236}">
                <a16:creationId xmlns:a16="http://schemas.microsoft.com/office/drawing/2014/main" id="{4E33686F-517E-41BB-ABFF-963F9F8A6C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4119" y="3476690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FC8E05FA-2F89-4411-94BF-CF75E03A178C}"/>
              </a:ext>
            </a:extLst>
          </p:cNvPr>
          <p:cNvCxnSpPr>
            <a:cxnSpLocks/>
          </p:cNvCxnSpPr>
          <p:nvPr/>
        </p:nvCxnSpPr>
        <p:spPr>
          <a:xfrm>
            <a:off x="3149860" y="3709805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D9D2B24-A1EB-424D-BFF4-87B68C9CB903}"/>
              </a:ext>
            </a:extLst>
          </p:cNvPr>
          <p:cNvSpPr txBox="1"/>
          <p:nvPr/>
        </p:nvSpPr>
        <p:spPr>
          <a:xfrm>
            <a:off x="3794905" y="3999184"/>
            <a:ext cx="9604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Azure SQL </a:t>
            </a:r>
            <a:br>
              <a:rPr lang="en-US" sz="1400" dirty="0"/>
            </a:br>
            <a:r>
              <a:rPr lang="en-US" sz="1400" dirty="0"/>
              <a:t>Database</a:t>
            </a:r>
          </a:p>
        </p:txBody>
      </p:sp>
      <p:pic>
        <p:nvPicPr>
          <p:cNvPr id="15" name="Picture 2" descr="Azure SQL Database with Elastic pools – Lee's Tech Blog">
            <a:extLst>
              <a:ext uri="{FF2B5EF4-FFF2-40B4-BE49-F238E27FC236}">
                <a16:creationId xmlns:a16="http://schemas.microsoft.com/office/drawing/2014/main" id="{2049D06D-055F-4AF1-99E2-1714803A32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8550" y="4890616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0E03AA6-553B-49E2-BDA3-1921D28C172A}"/>
              </a:ext>
            </a:extLst>
          </p:cNvPr>
          <p:cNvSpPr txBox="1"/>
          <p:nvPr/>
        </p:nvSpPr>
        <p:spPr>
          <a:xfrm>
            <a:off x="2381139" y="5413110"/>
            <a:ext cx="9168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Reference</a:t>
            </a:r>
          </a:p>
          <a:p>
            <a:pPr algn="ctr"/>
            <a:r>
              <a:rPr lang="en-US" sz="1400" dirty="0"/>
              <a:t>Data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B8DD805-9601-4476-A2CE-2F18D362F103}"/>
              </a:ext>
            </a:extLst>
          </p:cNvPr>
          <p:cNvCxnSpPr>
            <a:cxnSpLocks/>
            <a:endCxn id="7" idx="2"/>
          </p:cNvCxnSpPr>
          <p:nvPr/>
        </p:nvCxnSpPr>
        <p:spPr>
          <a:xfrm flipV="1">
            <a:off x="2780734" y="4522404"/>
            <a:ext cx="0" cy="2997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" descr="Preise – IoT Hub | Microsoft Azure">
            <a:extLst>
              <a:ext uri="{FF2B5EF4-FFF2-40B4-BE49-F238E27FC236}">
                <a16:creationId xmlns:a16="http://schemas.microsoft.com/office/drawing/2014/main" id="{5027943F-1551-4976-9060-0C51D6B735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097" y="3439073"/>
            <a:ext cx="1009444" cy="529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22A93C8D-3B61-40C4-BCB6-7EB9AE3340FD}"/>
              </a:ext>
            </a:extLst>
          </p:cNvPr>
          <p:cNvSpPr txBox="1"/>
          <p:nvPr/>
        </p:nvSpPr>
        <p:spPr>
          <a:xfrm>
            <a:off x="906803" y="3999184"/>
            <a:ext cx="4860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IoT</a:t>
            </a:r>
            <a:br>
              <a:rPr lang="en-US" sz="1400" dirty="0"/>
            </a:br>
            <a:r>
              <a:rPr lang="en-US" sz="1400" dirty="0"/>
              <a:t>Hub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FB9C04D-109E-405C-B94C-451005A56A21}"/>
              </a:ext>
            </a:extLst>
          </p:cNvPr>
          <p:cNvCxnSpPr>
            <a:cxnSpLocks/>
          </p:cNvCxnSpPr>
          <p:nvPr/>
        </p:nvCxnSpPr>
        <p:spPr>
          <a:xfrm>
            <a:off x="1570295" y="3704052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allout: Bent Line 25">
            <a:extLst>
              <a:ext uri="{FF2B5EF4-FFF2-40B4-BE49-F238E27FC236}">
                <a16:creationId xmlns:a16="http://schemas.microsoft.com/office/drawing/2014/main" id="{17BEE9DA-70EA-42C7-955B-A8465710F222}"/>
              </a:ext>
            </a:extLst>
          </p:cNvPr>
          <p:cNvSpPr/>
          <p:nvPr/>
        </p:nvSpPr>
        <p:spPr>
          <a:xfrm>
            <a:off x="5750498" y="1718875"/>
            <a:ext cx="2198226" cy="89491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210882"/>
              <a:gd name="adj6" fmla="val -8487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 duplicate delivery of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28" name="Callout: Bent Line 27">
            <a:extLst>
              <a:ext uri="{FF2B5EF4-FFF2-40B4-BE49-F238E27FC236}">
                <a16:creationId xmlns:a16="http://schemas.microsoft.com/office/drawing/2014/main" id="{F6649FFB-5E51-4A94-B29A-A18CABED7DFD}"/>
              </a:ext>
            </a:extLst>
          </p:cNvPr>
          <p:cNvSpPr/>
          <p:nvPr/>
        </p:nvSpPr>
        <p:spPr>
          <a:xfrm>
            <a:off x="7804504" y="2793402"/>
            <a:ext cx="2391070" cy="1272266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57778"/>
              <a:gd name="adj6" fmla="val -13099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how data only allowed rows, company internal but also for third party users</a:t>
            </a:r>
            <a:endParaRPr lang="en-US" sz="1100" dirty="0"/>
          </a:p>
        </p:txBody>
      </p:sp>
      <p:sp>
        <p:nvSpPr>
          <p:cNvPr id="30" name="Callout: Bent Line 29">
            <a:extLst>
              <a:ext uri="{FF2B5EF4-FFF2-40B4-BE49-F238E27FC236}">
                <a16:creationId xmlns:a16="http://schemas.microsoft.com/office/drawing/2014/main" id="{84D4E801-3D55-4414-ACA4-6FE4F6E95945}"/>
              </a:ext>
            </a:extLst>
          </p:cNvPr>
          <p:cNvSpPr/>
          <p:nvPr/>
        </p:nvSpPr>
        <p:spPr>
          <a:xfrm>
            <a:off x="3853733" y="4861433"/>
            <a:ext cx="2345239" cy="1106881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8313"/>
              <a:gd name="adj6" fmla="val -3716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place signal name with internal  </a:t>
            </a:r>
            <a:br>
              <a:rPr lang="en-US" dirty="0"/>
            </a:br>
            <a:r>
              <a:rPr lang="en-US" dirty="0" err="1"/>
              <a:t>SignalId</a:t>
            </a:r>
            <a:endParaRPr lang="en-US" dirty="0"/>
          </a:p>
          <a:p>
            <a:pPr algn="ctr"/>
            <a:r>
              <a:rPr lang="en-US" sz="1100" dirty="0"/>
              <a:t>(Tuned for efficiency)</a:t>
            </a:r>
          </a:p>
        </p:txBody>
      </p:sp>
      <p:sp>
        <p:nvSpPr>
          <p:cNvPr id="32" name="Callout: Bent Line 31">
            <a:extLst>
              <a:ext uri="{FF2B5EF4-FFF2-40B4-BE49-F238E27FC236}">
                <a16:creationId xmlns:a16="http://schemas.microsoft.com/office/drawing/2014/main" id="{C66A6811-F26C-4E25-B93B-50E93B0D271A}"/>
              </a:ext>
            </a:extLst>
          </p:cNvPr>
          <p:cNvSpPr/>
          <p:nvPr/>
        </p:nvSpPr>
        <p:spPr>
          <a:xfrm>
            <a:off x="7804504" y="4260795"/>
            <a:ext cx="2391070" cy="1057944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32823"/>
              <a:gd name="adj6" fmla="val -13027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eep history of all security relevant meta data changes</a:t>
            </a:r>
            <a:endParaRPr lang="en-US" sz="1100" dirty="0"/>
          </a:p>
        </p:txBody>
      </p:sp>
      <p:sp>
        <p:nvSpPr>
          <p:cNvPr id="3" name="Callout: Bent Line 2">
            <a:extLst>
              <a:ext uri="{FF2B5EF4-FFF2-40B4-BE49-F238E27FC236}">
                <a16:creationId xmlns:a16="http://schemas.microsoft.com/office/drawing/2014/main" id="{C53C303B-6D19-466F-B639-9751B8CF69CE}"/>
              </a:ext>
            </a:extLst>
          </p:cNvPr>
          <p:cNvSpPr/>
          <p:nvPr/>
        </p:nvSpPr>
        <p:spPr>
          <a:xfrm>
            <a:off x="2614109" y="2254671"/>
            <a:ext cx="2198226" cy="79184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78668"/>
              <a:gd name="adj6" fmla="val -3800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al with </a:t>
            </a:r>
            <a:br>
              <a:rPr lang="en-US" dirty="0"/>
            </a:br>
            <a:r>
              <a:rPr lang="en-US" dirty="0"/>
              <a:t>mal formed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9FAAEA5B-7769-49F8-BCF7-B22E4020B9FC}"/>
              </a:ext>
            </a:extLst>
          </p:cNvPr>
          <p:cNvSpPr/>
          <p:nvPr/>
        </p:nvSpPr>
        <p:spPr>
          <a:xfrm rot="20439882">
            <a:off x="2714463" y="1825222"/>
            <a:ext cx="2795225" cy="4374882"/>
          </a:xfrm>
          <a:prstGeom prst="ellipse">
            <a:avLst/>
          </a:prstGeom>
          <a:noFill/>
          <a:ln w="3492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79920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WHITE TEMPLATE">
  <a:themeElements>
    <a:clrScheme name="ST_Illustration_White_Blue">
      <a:dk1>
        <a:srgbClr val="1A1A1A"/>
      </a:dk1>
      <a:lt1>
        <a:srgbClr val="FFFFFF"/>
      </a:lt1>
      <a:dk2>
        <a:srgbClr val="0D0D0D"/>
      </a:dk2>
      <a:lt2>
        <a:srgbClr val="D2D2D2"/>
      </a:lt2>
      <a:accent1>
        <a:srgbClr val="0078D4"/>
      </a:accent1>
      <a:accent2>
        <a:srgbClr val="002050"/>
      </a:accent2>
      <a:accent3>
        <a:srgbClr val="107C10"/>
      </a:accent3>
      <a:accent4>
        <a:srgbClr val="D73B01"/>
      </a:accent4>
      <a:accent5>
        <a:srgbClr val="737373"/>
      </a:accent5>
      <a:accent6>
        <a:srgbClr val="E6E6E6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YYYY-MM-DD Customer Success Solution Plan - IC [Customer]" id="{FECC99A1-6CD3-45AE-BAE3-489975E96485}" vid="{7205422F-7DF1-4D88-A969-FE59EE90D78E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898</Words>
  <Application>Microsoft Office PowerPoint</Application>
  <PresentationFormat>Widescreen</PresentationFormat>
  <Paragraphs>1228</Paragraphs>
  <Slides>72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2</vt:i4>
      </vt:variant>
    </vt:vector>
  </HeadingPairs>
  <TitlesOfParts>
    <vt:vector size="86" baseType="lpstr">
      <vt:lpstr>-apple-system</vt:lpstr>
      <vt:lpstr>Arial</vt:lpstr>
      <vt:lpstr>Calibri</vt:lpstr>
      <vt:lpstr>Calibri Light</vt:lpstr>
      <vt:lpstr>Consolas</vt:lpstr>
      <vt:lpstr>Courier New</vt:lpstr>
      <vt:lpstr>Segoe UI</vt:lpstr>
      <vt:lpstr>Segoe UI Light</vt:lpstr>
      <vt:lpstr>Segoe UI Semibold</vt:lpstr>
      <vt:lpstr>Segoe UI Semilight</vt:lpstr>
      <vt:lpstr>Wingdings</vt:lpstr>
      <vt:lpstr>Office Theme</vt:lpstr>
      <vt:lpstr>1_WHITE TEMPLATE</vt:lpstr>
      <vt:lpstr>think-cell Slide</vt:lpstr>
      <vt:lpstr>IoT4Solution/Smart Start2 using  - Azure IoTHub,  - Azure Stream Analytics - and Azure SQL</vt:lpstr>
      <vt:lpstr>Agenda</vt:lpstr>
      <vt:lpstr>PowerPoint Presentation</vt:lpstr>
      <vt:lpstr>Goal</vt:lpstr>
      <vt:lpstr>Source of the Architecture (Axpo Hydro)</vt:lpstr>
      <vt:lpstr>Main goals/requirements and features</vt:lpstr>
      <vt:lpstr>Azure Stream Analytics</vt:lpstr>
      <vt:lpstr>Azure IoT Hub (Edge)</vt:lpstr>
      <vt:lpstr>Data ingest and presentation</vt:lpstr>
      <vt:lpstr>Main Azure SQL Database Structures </vt:lpstr>
      <vt:lpstr>Deployment</vt:lpstr>
      <vt:lpstr>Deploy Azure Services</vt:lpstr>
      <vt:lpstr>Deploy SQL Database Schema</vt:lpstr>
      <vt:lpstr>Adjust DB to your project</vt:lpstr>
      <vt:lpstr>Adjust DB to your project - 2</vt:lpstr>
      <vt:lpstr>Add Device &amp; Configure C# Application </vt:lpstr>
      <vt:lpstr>Define and Deploy Stream Analytics Job</vt:lpstr>
      <vt:lpstr>Define and Deploy Stream Analytics Job - 2</vt:lpstr>
      <vt:lpstr>Define and Deploy Stream Analytics Job - 3</vt:lpstr>
      <vt:lpstr>Define and Deploy Stream Analytics Job - 4</vt:lpstr>
      <vt:lpstr>Define and Deploy Stream Analytics Job - 5</vt:lpstr>
      <vt:lpstr>Test Setup in Visual Studio</vt:lpstr>
      <vt:lpstr>Check Data in Database</vt:lpstr>
      <vt:lpstr>Deploy Stream Analytics Job</vt:lpstr>
      <vt:lpstr>Ready to run</vt:lpstr>
      <vt:lpstr>Agenda</vt:lpstr>
      <vt:lpstr>More Details</vt:lpstr>
      <vt:lpstr>Signal Registration  Process</vt:lpstr>
      <vt:lpstr>Main Azure SQL Database Structures </vt:lpstr>
      <vt:lpstr>Auto Signal Registration</vt:lpstr>
      <vt:lpstr>Handle Duplicate Values</vt:lpstr>
      <vt:lpstr>Handle Duplicate Values - 2</vt:lpstr>
      <vt:lpstr>Handle Duplicate Values - 4</vt:lpstr>
      <vt:lpstr>Handle Duplicate Values - 5</vt:lpstr>
      <vt:lpstr>Handle Duplicate Values – 5a</vt:lpstr>
      <vt:lpstr>Storage Details – Basic Usage</vt:lpstr>
      <vt:lpstr>Storage Details – Basic Usage -2</vt:lpstr>
      <vt:lpstr>Storage Details – Advanced Usage</vt:lpstr>
      <vt:lpstr>Storage Details – Advanced Usage</vt:lpstr>
      <vt:lpstr>Storage Details – Advanced Usage</vt:lpstr>
      <vt:lpstr>Storage Details – Advanced Usage</vt:lpstr>
      <vt:lpstr>Storage Details – Advanced Usage -2</vt:lpstr>
      <vt:lpstr>Quick Overview of data in the database</vt:lpstr>
      <vt:lpstr>Remove Data from Measurement&lt;XXX&gt; table</vt:lpstr>
      <vt:lpstr>Remove Data from Measurement&lt;XXX&gt; table -2</vt:lpstr>
      <vt:lpstr>Agenda</vt:lpstr>
      <vt:lpstr>Poor man’s digital twin</vt:lpstr>
      <vt:lpstr>Agenda</vt:lpstr>
      <vt:lpstr>Data ingest and presentation</vt:lpstr>
      <vt:lpstr>Azure SQL Database</vt:lpstr>
      <vt:lpstr>Row level security</vt:lpstr>
      <vt:lpstr>Security related tables</vt:lpstr>
      <vt:lpstr>Performance Optimization(Unique Key reference)</vt:lpstr>
      <vt:lpstr>Temporal Table for Security related tables</vt:lpstr>
      <vt:lpstr>Agenda</vt:lpstr>
      <vt:lpstr>Effizient Queries</vt:lpstr>
      <vt:lpstr>Efficient Queries and Power BI – Direct Query</vt:lpstr>
      <vt:lpstr>Efficient Queries and Power BI – Direct Query</vt:lpstr>
      <vt:lpstr>Agenda</vt:lpstr>
      <vt:lpstr>Monitor Activites</vt:lpstr>
      <vt:lpstr>Reset the database</vt:lpstr>
      <vt:lpstr>Data ingest and presentation</vt:lpstr>
      <vt:lpstr>Agenda</vt:lpstr>
      <vt:lpstr>PowerPoint Presentation</vt:lpstr>
      <vt:lpstr>Azure SQL Database Family</vt:lpstr>
      <vt:lpstr>Scalability</vt:lpstr>
      <vt:lpstr>Current Data Volume  (after ~ 6 months up and running)</vt:lpstr>
      <vt:lpstr>PowerPoint Presentation</vt:lpstr>
      <vt:lpstr>PowerPoint Presentation</vt:lpstr>
      <vt:lpstr>Current Scale Level</vt:lpstr>
      <vt:lpstr>Utilization</vt:lpstr>
      <vt:lpstr>Agend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QL Server and IoT @Axpo</dc:title>
  <dc:creator>Meinrad Weiss</dc:creator>
  <cp:lastModifiedBy>Meinrad Weiss</cp:lastModifiedBy>
  <cp:revision>35</cp:revision>
  <dcterms:created xsi:type="dcterms:W3CDTF">2020-10-15T12:27:59Z</dcterms:created>
  <dcterms:modified xsi:type="dcterms:W3CDTF">2022-04-06T08:22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etDate">
    <vt:lpwstr>2020-10-15T12:27:58Z</vt:lpwstr>
  </property>
  <property fmtid="{D5CDD505-2E9C-101B-9397-08002B2CF9AE}" pid="4" name="MSIP_Label_f42aa342-8706-4288-bd11-ebb85995028c_Method">
    <vt:lpwstr>Standard</vt:lpwstr>
  </property>
  <property fmtid="{D5CDD505-2E9C-101B-9397-08002B2CF9AE}" pid="5" name="MSIP_Label_f42aa342-8706-4288-bd11-ebb85995028c_Name">
    <vt:lpwstr>Internal</vt:lpwstr>
  </property>
  <property fmtid="{D5CDD505-2E9C-101B-9397-08002B2CF9AE}" pid="6" name="MSIP_Label_f42aa342-8706-4288-bd11-ebb85995028c_SiteId">
    <vt:lpwstr>72f988bf-86f1-41af-91ab-2d7cd011db47</vt:lpwstr>
  </property>
  <property fmtid="{D5CDD505-2E9C-101B-9397-08002B2CF9AE}" pid="7" name="MSIP_Label_f42aa342-8706-4288-bd11-ebb85995028c_ActionId">
    <vt:lpwstr>97e8a0e3-8c1f-4dc2-a70c-fa9b993df51b</vt:lpwstr>
  </property>
  <property fmtid="{D5CDD505-2E9C-101B-9397-08002B2CF9AE}" pid="8" name="MSIP_Label_f42aa342-8706-4288-bd11-ebb85995028c_ContentBits">
    <vt:lpwstr>0</vt:lpwstr>
  </property>
</Properties>
</file>